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308" r:id="rId4"/>
    <p:sldMasterId id="2147484309" r:id="rId5"/>
  </p:sldMasterIdLst>
  <p:notesMasterIdLst>
    <p:notesMasterId r:id="rId20"/>
  </p:notesMasterIdLst>
  <p:handoutMasterIdLst>
    <p:handoutMasterId r:id="rId21"/>
  </p:handoutMasterIdLst>
  <p:sldIdLst>
    <p:sldId id="339" r:id="rId6"/>
    <p:sldId id="7496" r:id="rId7"/>
    <p:sldId id="7697" r:id="rId8"/>
    <p:sldId id="7690" r:id="rId9"/>
    <p:sldId id="7726" r:id="rId10"/>
    <p:sldId id="7709" r:id="rId11"/>
    <p:sldId id="7717" r:id="rId12"/>
    <p:sldId id="7716" r:id="rId13"/>
    <p:sldId id="7724" r:id="rId14"/>
    <p:sldId id="7721" r:id="rId15"/>
    <p:sldId id="7723" r:id="rId16"/>
    <p:sldId id="7722" r:id="rId17"/>
    <p:sldId id="7727" r:id="rId18"/>
    <p:sldId id="7725" r:id="rId19"/>
  </p:sldIdLst>
  <p:sldSz cx="12192000" cy="6858000"/>
  <p:notesSz cx="7077075" cy="9363075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5" userDrawn="1">
          <p15:clr>
            <a:srgbClr val="A4A3A4"/>
          </p15:clr>
        </p15:guide>
        <p15:guide id="2" pos="3811" userDrawn="1">
          <p15:clr>
            <a:srgbClr val="A4A3A4"/>
          </p15:clr>
        </p15:guide>
        <p15:guide id="3" orient="horz" pos="2397" userDrawn="1">
          <p15:clr>
            <a:srgbClr val="A4A3A4"/>
          </p15:clr>
        </p15:guide>
        <p15:guide id="4" orient="horz" pos="1285" userDrawn="1">
          <p15:clr>
            <a:srgbClr val="A4A3A4"/>
          </p15:clr>
        </p15:guide>
        <p15:guide id="5" pos="71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 userDrawn="1">
          <p15:clr>
            <a:srgbClr val="A4A3A4"/>
          </p15:clr>
        </p15:guide>
        <p15:guide id="2" pos="2229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D58EF27-F3A9-DB17-0ED2-9750307DEB74}" name="Mike Hershey" initials="MH" userId="S::mhershey@oaaa.org::2f5e052c-3509-4a35-beb8-21ff1d252ff6" providerId="AD"/>
  <p188:author id="{4B2837E7-1FB6-65EF-2611-D146B5F71B83}" name="Jeff Jan" initials="JJ" userId="S::jjan@oaaa.org::89083b95-152d-4d09-ad93-47bc92f7f42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60625E"/>
    <a:srgbClr val="B2B3B2"/>
    <a:srgbClr val="E2261C"/>
    <a:srgbClr val="53C2EC"/>
    <a:srgbClr val="00A0DE"/>
    <a:srgbClr val="717271"/>
    <a:srgbClr val="006496"/>
    <a:srgbClr val="E1261C"/>
    <a:srgbClr val="E003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9A59AF-8F0E-4A76-90C6-B7421A591501}" v="58" dt="2026-02-24T19:01:02.0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954" y="114"/>
      </p:cViewPr>
      <p:guideLst>
        <p:guide orient="horz" pos="2165"/>
        <p:guide pos="3811"/>
        <p:guide orient="horz" pos="2397"/>
        <p:guide orient="horz" pos="1285"/>
        <p:guide pos="71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49"/>
        <p:guide pos="222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ke Hershey" userId="2f5e052c-3509-4a35-beb8-21ff1d252ff6" providerId="ADAL" clId="{C672ED15-A6FF-4FC0-B7F6-AB7C1A683D45}"/>
    <pc:docChg chg="undo custSel addSld delSld modSld sldOrd">
      <pc:chgData name="Mike Hershey" userId="2f5e052c-3509-4a35-beb8-21ff1d252ff6" providerId="ADAL" clId="{C672ED15-A6FF-4FC0-B7F6-AB7C1A683D45}" dt="2026-02-24T19:01:13.467" v="6573" actId="20577"/>
      <pc:docMkLst>
        <pc:docMk/>
      </pc:docMkLst>
      <pc:sldChg chg="modSp mod">
        <pc:chgData name="Mike Hershey" userId="2f5e052c-3509-4a35-beb8-21ff1d252ff6" providerId="ADAL" clId="{C672ED15-A6FF-4FC0-B7F6-AB7C1A683D45}" dt="2026-02-24T17:13:09.570" v="3889" actId="5793"/>
        <pc:sldMkLst>
          <pc:docMk/>
          <pc:sldMk cId="3184010784" sldId="339"/>
        </pc:sldMkLst>
        <pc:spChg chg="mod">
          <ac:chgData name="Mike Hershey" userId="2f5e052c-3509-4a35-beb8-21ff1d252ff6" providerId="ADAL" clId="{C672ED15-A6FF-4FC0-B7F6-AB7C1A683D45}" dt="2026-02-17T18:15:08.985" v="59" actId="20577"/>
          <ac:spMkLst>
            <pc:docMk/>
            <pc:sldMk cId="3184010784" sldId="339"/>
            <ac:spMk id="3" creationId="{A69DD75C-02EC-4492-8B1B-033DF5D4189E}"/>
          </ac:spMkLst>
        </pc:spChg>
        <pc:spChg chg="mod">
          <ac:chgData name="Mike Hershey" userId="2f5e052c-3509-4a35-beb8-21ff1d252ff6" providerId="ADAL" clId="{C672ED15-A6FF-4FC0-B7F6-AB7C1A683D45}" dt="2026-02-24T17:13:09.570" v="3889" actId="5793"/>
          <ac:spMkLst>
            <pc:docMk/>
            <pc:sldMk cId="3184010784" sldId="339"/>
            <ac:spMk id="6" creationId="{00000000-0000-0000-0000-000000000000}"/>
          </ac:spMkLst>
        </pc:spChg>
      </pc:sldChg>
      <pc:sldChg chg="modSp mod">
        <pc:chgData name="Mike Hershey" userId="2f5e052c-3509-4a35-beb8-21ff1d252ff6" providerId="ADAL" clId="{C672ED15-A6FF-4FC0-B7F6-AB7C1A683D45}" dt="2026-02-24T14:37:20.617" v="1744" actId="14100"/>
        <pc:sldMkLst>
          <pc:docMk/>
          <pc:sldMk cId="1799057548" sldId="7496"/>
        </pc:sldMkLst>
        <pc:spChg chg="mod">
          <ac:chgData name="Mike Hershey" userId="2f5e052c-3509-4a35-beb8-21ff1d252ff6" providerId="ADAL" clId="{C672ED15-A6FF-4FC0-B7F6-AB7C1A683D45}" dt="2026-02-24T14:37:20.617" v="1744" actId="14100"/>
          <ac:spMkLst>
            <pc:docMk/>
            <pc:sldMk cId="1799057548" sldId="7496"/>
            <ac:spMk id="2" creationId="{637716E1-57FA-E34D-BCDD-24E1420577FF}"/>
          </ac:spMkLst>
        </pc:spChg>
      </pc:sldChg>
      <pc:sldChg chg="del">
        <pc:chgData name="Mike Hershey" userId="2f5e052c-3509-4a35-beb8-21ff1d252ff6" providerId="ADAL" clId="{C672ED15-A6FF-4FC0-B7F6-AB7C1A683D45}" dt="2026-02-24T15:58:47.412" v="2748" actId="47"/>
        <pc:sldMkLst>
          <pc:docMk/>
          <pc:sldMk cId="1035518547" sldId="7500"/>
        </pc:sldMkLst>
      </pc:sldChg>
      <pc:sldChg chg="del">
        <pc:chgData name="Mike Hershey" userId="2f5e052c-3509-4a35-beb8-21ff1d252ff6" providerId="ADAL" clId="{C672ED15-A6FF-4FC0-B7F6-AB7C1A683D45}" dt="2026-02-24T15:59:04.529" v="2752" actId="47"/>
        <pc:sldMkLst>
          <pc:docMk/>
          <pc:sldMk cId="2647853895" sldId="7506"/>
        </pc:sldMkLst>
      </pc:sldChg>
      <pc:sldChg chg="del">
        <pc:chgData name="Mike Hershey" userId="2f5e052c-3509-4a35-beb8-21ff1d252ff6" providerId="ADAL" clId="{C672ED15-A6FF-4FC0-B7F6-AB7C1A683D45}" dt="2026-02-24T15:59:10.223" v="2755" actId="47"/>
        <pc:sldMkLst>
          <pc:docMk/>
          <pc:sldMk cId="2736363159" sldId="7507"/>
        </pc:sldMkLst>
      </pc:sldChg>
      <pc:sldChg chg="del">
        <pc:chgData name="Mike Hershey" userId="2f5e052c-3509-4a35-beb8-21ff1d252ff6" providerId="ADAL" clId="{C672ED15-A6FF-4FC0-B7F6-AB7C1A683D45}" dt="2026-02-24T15:58:39.893" v="2744" actId="47"/>
        <pc:sldMkLst>
          <pc:docMk/>
          <pc:sldMk cId="1703157185" sldId="7509"/>
        </pc:sldMkLst>
      </pc:sldChg>
      <pc:sldChg chg="del">
        <pc:chgData name="Mike Hershey" userId="2f5e052c-3509-4a35-beb8-21ff1d252ff6" providerId="ADAL" clId="{C672ED15-A6FF-4FC0-B7F6-AB7C1A683D45}" dt="2026-02-24T15:58:39.193" v="2743" actId="47"/>
        <pc:sldMkLst>
          <pc:docMk/>
          <pc:sldMk cId="1132393456" sldId="7510"/>
        </pc:sldMkLst>
      </pc:sldChg>
      <pc:sldChg chg="del">
        <pc:chgData name="Mike Hershey" userId="2f5e052c-3509-4a35-beb8-21ff1d252ff6" providerId="ADAL" clId="{C672ED15-A6FF-4FC0-B7F6-AB7C1A683D45}" dt="2026-02-24T15:58:41.665" v="2746" actId="47"/>
        <pc:sldMkLst>
          <pc:docMk/>
          <pc:sldMk cId="3864159565" sldId="7511"/>
        </pc:sldMkLst>
      </pc:sldChg>
      <pc:sldChg chg="del">
        <pc:chgData name="Mike Hershey" userId="2f5e052c-3509-4a35-beb8-21ff1d252ff6" providerId="ADAL" clId="{C672ED15-A6FF-4FC0-B7F6-AB7C1A683D45}" dt="2026-02-24T15:58:37.912" v="2742" actId="47"/>
        <pc:sldMkLst>
          <pc:docMk/>
          <pc:sldMk cId="1544311442" sldId="7514"/>
        </pc:sldMkLst>
      </pc:sldChg>
      <pc:sldChg chg="del">
        <pc:chgData name="Mike Hershey" userId="2f5e052c-3509-4a35-beb8-21ff1d252ff6" providerId="ADAL" clId="{C672ED15-A6FF-4FC0-B7F6-AB7C1A683D45}" dt="2026-02-24T15:58:40.591" v="2745" actId="47"/>
        <pc:sldMkLst>
          <pc:docMk/>
          <pc:sldMk cId="1887346588" sldId="7515"/>
        </pc:sldMkLst>
      </pc:sldChg>
      <pc:sldChg chg="addSp delSp modSp mod">
        <pc:chgData name="Mike Hershey" userId="2f5e052c-3509-4a35-beb8-21ff1d252ff6" providerId="ADAL" clId="{C672ED15-A6FF-4FC0-B7F6-AB7C1A683D45}" dt="2026-02-24T16:41:28.754" v="3237" actId="20577"/>
        <pc:sldMkLst>
          <pc:docMk/>
          <pc:sldMk cId="1142434658" sldId="7690"/>
        </pc:sldMkLst>
        <pc:spChg chg="mod">
          <ac:chgData name="Mike Hershey" userId="2f5e052c-3509-4a35-beb8-21ff1d252ff6" providerId="ADAL" clId="{C672ED15-A6FF-4FC0-B7F6-AB7C1A683D45}" dt="2026-02-24T16:41:28.754" v="3237" actId="20577"/>
          <ac:spMkLst>
            <pc:docMk/>
            <pc:sldMk cId="1142434658" sldId="7690"/>
            <ac:spMk id="5" creationId="{3B65121F-CC7C-9EDD-7E91-F0A8A41B7DF6}"/>
          </ac:spMkLst>
        </pc:spChg>
        <pc:picChg chg="del">
          <ac:chgData name="Mike Hershey" userId="2f5e052c-3509-4a35-beb8-21ff1d252ff6" providerId="ADAL" clId="{C672ED15-A6FF-4FC0-B7F6-AB7C1A683D45}" dt="2026-02-24T03:55:18.943" v="177" actId="478"/>
          <ac:picMkLst>
            <pc:docMk/>
            <pc:sldMk cId="1142434658" sldId="7690"/>
            <ac:picMk id="3" creationId="{3793F992-A9FC-C2E9-B396-74901E3CBBA8}"/>
          </ac:picMkLst>
        </pc:picChg>
        <pc:picChg chg="del">
          <ac:chgData name="Mike Hershey" userId="2f5e052c-3509-4a35-beb8-21ff1d252ff6" providerId="ADAL" clId="{C672ED15-A6FF-4FC0-B7F6-AB7C1A683D45}" dt="2026-02-24T03:55:40.647" v="184" actId="478"/>
          <ac:picMkLst>
            <pc:docMk/>
            <pc:sldMk cId="1142434658" sldId="7690"/>
            <ac:picMk id="6" creationId="{72339AA8-0484-FB65-D375-A76BD38AEAAF}"/>
          </ac:picMkLst>
        </pc:picChg>
        <pc:picChg chg="del">
          <ac:chgData name="Mike Hershey" userId="2f5e052c-3509-4a35-beb8-21ff1d252ff6" providerId="ADAL" clId="{C672ED15-A6FF-4FC0-B7F6-AB7C1A683D45}" dt="2026-02-24T03:55:45.368" v="185" actId="478"/>
          <ac:picMkLst>
            <pc:docMk/>
            <pc:sldMk cId="1142434658" sldId="7690"/>
            <ac:picMk id="7" creationId="{7E05FBD4-DC8E-4DDE-DE45-7CED88744A0B}"/>
          </ac:picMkLst>
        </pc:picChg>
        <pc:picChg chg="del">
          <ac:chgData name="Mike Hershey" userId="2f5e052c-3509-4a35-beb8-21ff1d252ff6" providerId="ADAL" clId="{C672ED15-A6FF-4FC0-B7F6-AB7C1A683D45}" dt="2026-02-24T03:55:38.767" v="183" actId="478"/>
          <ac:picMkLst>
            <pc:docMk/>
            <pc:sldMk cId="1142434658" sldId="7690"/>
            <ac:picMk id="8" creationId="{220A8BFD-D7B9-C1DB-58B7-E8F21A913BEC}"/>
          </ac:picMkLst>
        </pc:picChg>
        <pc:picChg chg="del">
          <ac:chgData name="Mike Hershey" userId="2f5e052c-3509-4a35-beb8-21ff1d252ff6" providerId="ADAL" clId="{C672ED15-A6FF-4FC0-B7F6-AB7C1A683D45}" dt="2026-02-24T03:55:47.444" v="186" actId="478"/>
          <ac:picMkLst>
            <pc:docMk/>
            <pc:sldMk cId="1142434658" sldId="7690"/>
            <ac:picMk id="9" creationId="{7609F2D9-0DDB-D02B-8152-15D0F7C52C99}"/>
          </ac:picMkLst>
        </pc:picChg>
        <pc:picChg chg="del">
          <ac:chgData name="Mike Hershey" userId="2f5e052c-3509-4a35-beb8-21ff1d252ff6" providerId="ADAL" clId="{C672ED15-A6FF-4FC0-B7F6-AB7C1A683D45}" dt="2026-02-24T03:55:16.897" v="176" actId="478"/>
          <ac:picMkLst>
            <pc:docMk/>
            <pc:sldMk cId="1142434658" sldId="7690"/>
            <ac:picMk id="10" creationId="{1BC15461-71B6-8711-90A5-4312D27CA1B3}"/>
          </ac:picMkLst>
        </pc:picChg>
        <pc:picChg chg="del">
          <ac:chgData name="Mike Hershey" userId="2f5e052c-3509-4a35-beb8-21ff1d252ff6" providerId="ADAL" clId="{C672ED15-A6FF-4FC0-B7F6-AB7C1A683D45}" dt="2026-02-24T03:55:36.247" v="182" actId="478"/>
          <ac:picMkLst>
            <pc:docMk/>
            <pc:sldMk cId="1142434658" sldId="7690"/>
            <ac:picMk id="11" creationId="{C87E1720-7C58-39B8-226D-29226064151C}"/>
          </ac:picMkLst>
        </pc:picChg>
        <pc:picChg chg="del">
          <ac:chgData name="Mike Hershey" userId="2f5e052c-3509-4a35-beb8-21ff1d252ff6" providerId="ADAL" clId="{C672ED15-A6FF-4FC0-B7F6-AB7C1A683D45}" dt="2026-02-24T03:55:53.617" v="189" actId="478"/>
          <ac:picMkLst>
            <pc:docMk/>
            <pc:sldMk cId="1142434658" sldId="7690"/>
            <ac:picMk id="12" creationId="{84127598-F6C1-504F-F052-30DDFF67C1B7}"/>
          </ac:picMkLst>
        </pc:picChg>
        <pc:picChg chg="add mod">
          <ac:chgData name="Mike Hershey" userId="2f5e052c-3509-4a35-beb8-21ff1d252ff6" providerId="ADAL" clId="{C672ED15-A6FF-4FC0-B7F6-AB7C1A683D45}" dt="2026-02-24T04:06:48.686" v="426" actId="1076"/>
          <ac:picMkLst>
            <pc:docMk/>
            <pc:sldMk cId="1142434658" sldId="7690"/>
            <ac:picMk id="13" creationId="{CC1B5FAF-FC2E-E722-1BEF-1AB28D01B25B}"/>
          </ac:picMkLst>
        </pc:picChg>
        <pc:picChg chg="add mod">
          <ac:chgData name="Mike Hershey" userId="2f5e052c-3509-4a35-beb8-21ff1d252ff6" providerId="ADAL" clId="{C672ED15-A6FF-4FC0-B7F6-AB7C1A683D45}" dt="2026-02-24T16:40:49.114" v="3228" actId="1076"/>
          <ac:picMkLst>
            <pc:docMk/>
            <pc:sldMk cId="1142434658" sldId="7690"/>
            <ac:picMk id="14" creationId="{41294651-F002-F4A2-329A-6643CCD91CE8}"/>
          </ac:picMkLst>
        </pc:picChg>
        <pc:picChg chg="add mod">
          <ac:chgData name="Mike Hershey" userId="2f5e052c-3509-4a35-beb8-21ff1d252ff6" providerId="ADAL" clId="{C672ED15-A6FF-4FC0-B7F6-AB7C1A683D45}" dt="2026-02-24T16:40:54.154" v="3229" actId="1076"/>
          <ac:picMkLst>
            <pc:docMk/>
            <pc:sldMk cId="1142434658" sldId="7690"/>
            <ac:picMk id="15" creationId="{EEF8950B-4C10-E87D-EE6E-0E187F3717A5}"/>
          </ac:picMkLst>
        </pc:picChg>
        <pc:picChg chg="add mod">
          <ac:chgData name="Mike Hershey" userId="2f5e052c-3509-4a35-beb8-21ff1d252ff6" providerId="ADAL" clId="{C672ED15-A6FF-4FC0-B7F6-AB7C1A683D45}" dt="2026-02-24T16:40:57.229" v="3230" actId="1076"/>
          <ac:picMkLst>
            <pc:docMk/>
            <pc:sldMk cId="1142434658" sldId="7690"/>
            <ac:picMk id="16" creationId="{8B977C85-5672-01D7-EA23-6B2748DDCBC0}"/>
          </ac:picMkLst>
        </pc:picChg>
        <pc:picChg chg="add mod">
          <ac:chgData name="Mike Hershey" userId="2f5e052c-3509-4a35-beb8-21ff1d252ff6" providerId="ADAL" clId="{C672ED15-A6FF-4FC0-B7F6-AB7C1A683D45}" dt="2026-02-24T16:41:00.250" v="3231" actId="1076"/>
          <ac:picMkLst>
            <pc:docMk/>
            <pc:sldMk cId="1142434658" sldId="7690"/>
            <ac:picMk id="17" creationId="{D22410EE-0C0F-A064-D1D3-444431E262CF}"/>
          </ac:picMkLst>
        </pc:picChg>
        <pc:picChg chg="del">
          <ac:chgData name="Mike Hershey" userId="2f5e052c-3509-4a35-beb8-21ff1d252ff6" providerId="ADAL" clId="{C672ED15-A6FF-4FC0-B7F6-AB7C1A683D45}" dt="2026-02-24T03:55:51.625" v="188" actId="478"/>
          <ac:picMkLst>
            <pc:docMk/>
            <pc:sldMk cId="1142434658" sldId="7690"/>
            <ac:picMk id="1026" creationId="{078D0EBE-FE09-7C9B-ACB3-3E9E313EF299}"/>
          </ac:picMkLst>
        </pc:picChg>
        <pc:picChg chg="del">
          <ac:chgData name="Mike Hershey" userId="2f5e052c-3509-4a35-beb8-21ff1d252ff6" providerId="ADAL" clId="{C672ED15-A6FF-4FC0-B7F6-AB7C1A683D45}" dt="2026-02-24T03:55:49.713" v="187" actId="478"/>
          <ac:picMkLst>
            <pc:docMk/>
            <pc:sldMk cId="1142434658" sldId="7690"/>
            <ac:picMk id="1034" creationId="{D3869AE2-E4BB-1E09-D228-15AD526B3815}"/>
          </ac:picMkLst>
        </pc:picChg>
      </pc:sldChg>
      <pc:sldChg chg="delSp modSp add mod ord">
        <pc:chgData name="Mike Hershey" userId="2f5e052c-3509-4a35-beb8-21ff1d252ff6" providerId="ADAL" clId="{C672ED15-A6FF-4FC0-B7F6-AB7C1A683D45}" dt="2026-02-24T17:10:44.404" v="3850" actId="1076"/>
        <pc:sldMkLst>
          <pc:docMk/>
          <pc:sldMk cId="2493560516" sldId="7697"/>
        </pc:sldMkLst>
        <pc:spChg chg="mod">
          <ac:chgData name="Mike Hershey" userId="2f5e052c-3509-4a35-beb8-21ff1d252ff6" providerId="ADAL" clId="{C672ED15-A6FF-4FC0-B7F6-AB7C1A683D45}" dt="2026-02-24T17:10:34.285" v="3846" actId="1076"/>
          <ac:spMkLst>
            <pc:docMk/>
            <pc:sldMk cId="2493560516" sldId="7697"/>
            <ac:spMk id="16" creationId="{E4FCAA58-B9EB-F179-0C80-8C2A134FE060}"/>
          </ac:spMkLst>
        </pc:spChg>
        <pc:spChg chg="del mod">
          <ac:chgData name="Mike Hershey" userId="2f5e052c-3509-4a35-beb8-21ff1d252ff6" providerId="ADAL" clId="{C672ED15-A6FF-4FC0-B7F6-AB7C1A683D45}" dt="2026-02-24T14:41:25.669" v="1984" actId="478"/>
          <ac:spMkLst>
            <pc:docMk/>
            <pc:sldMk cId="2493560516" sldId="7697"/>
            <ac:spMk id="24" creationId="{3E040CD5-917B-686A-5901-8FE4523186B2}"/>
          </ac:spMkLst>
        </pc:spChg>
        <pc:picChg chg="mod">
          <ac:chgData name="Mike Hershey" userId="2f5e052c-3509-4a35-beb8-21ff1d252ff6" providerId="ADAL" clId="{C672ED15-A6FF-4FC0-B7F6-AB7C1A683D45}" dt="2026-02-24T17:10:44.404" v="3850" actId="1076"/>
          <ac:picMkLst>
            <pc:docMk/>
            <pc:sldMk cId="2493560516" sldId="7697"/>
            <ac:picMk id="11" creationId="{CF6F6275-7BE6-B19A-0E90-6B596330D79C}"/>
          </ac:picMkLst>
        </pc:picChg>
        <pc:picChg chg="mod">
          <ac:chgData name="Mike Hershey" userId="2f5e052c-3509-4a35-beb8-21ff1d252ff6" providerId="ADAL" clId="{C672ED15-A6FF-4FC0-B7F6-AB7C1A683D45}" dt="2026-02-24T17:10:42.279" v="3849" actId="1076"/>
          <ac:picMkLst>
            <pc:docMk/>
            <pc:sldMk cId="2493560516" sldId="7697"/>
            <ac:picMk id="13" creationId="{ED75A868-C104-4F87-B47A-716DB42DE6EC}"/>
          </ac:picMkLst>
        </pc:picChg>
      </pc:sldChg>
      <pc:sldChg chg="del">
        <pc:chgData name="Mike Hershey" userId="2f5e052c-3509-4a35-beb8-21ff1d252ff6" providerId="ADAL" clId="{C672ED15-A6FF-4FC0-B7F6-AB7C1A683D45}" dt="2026-02-24T15:59:02.425" v="2751" actId="47"/>
        <pc:sldMkLst>
          <pc:docMk/>
          <pc:sldMk cId="2280525776" sldId="7701"/>
        </pc:sldMkLst>
      </pc:sldChg>
      <pc:sldChg chg="del">
        <pc:chgData name="Mike Hershey" userId="2f5e052c-3509-4a35-beb8-21ff1d252ff6" providerId="ADAL" clId="{C672ED15-A6FF-4FC0-B7F6-AB7C1A683D45}" dt="2026-02-24T15:58:48.838" v="2749" actId="47"/>
        <pc:sldMkLst>
          <pc:docMk/>
          <pc:sldMk cId="3897821614" sldId="7704"/>
        </pc:sldMkLst>
      </pc:sldChg>
      <pc:sldChg chg="del">
        <pc:chgData name="Mike Hershey" userId="2f5e052c-3509-4a35-beb8-21ff1d252ff6" providerId="ADAL" clId="{C672ED15-A6FF-4FC0-B7F6-AB7C1A683D45}" dt="2026-02-24T15:58:50.167" v="2750" actId="47"/>
        <pc:sldMkLst>
          <pc:docMk/>
          <pc:sldMk cId="2440568613" sldId="7708"/>
        </pc:sldMkLst>
      </pc:sldChg>
      <pc:sldChg chg="addSp delSp modSp mod">
        <pc:chgData name="Mike Hershey" userId="2f5e052c-3509-4a35-beb8-21ff1d252ff6" providerId="ADAL" clId="{C672ED15-A6FF-4FC0-B7F6-AB7C1A683D45}" dt="2026-02-24T15:25:13.711" v="2339" actId="207"/>
        <pc:sldMkLst>
          <pc:docMk/>
          <pc:sldMk cId="2817195244" sldId="7709"/>
        </pc:sldMkLst>
        <pc:spChg chg="mod">
          <ac:chgData name="Mike Hershey" userId="2f5e052c-3509-4a35-beb8-21ff1d252ff6" providerId="ADAL" clId="{C672ED15-A6FF-4FC0-B7F6-AB7C1A683D45}" dt="2026-02-24T15:22:49.491" v="2324" actId="2711"/>
          <ac:spMkLst>
            <pc:docMk/>
            <pc:sldMk cId="2817195244" sldId="7709"/>
            <ac:spMk id="2" creationId="{BA1E6EDA-7846-8105-7126-865F8CB2E7E5}"/>
          </ac:spMkLst>
        </pc:spChg>
        <pc:spChg chg="mod ord">
          <ac:chgData name="Mike Hershey" userId="2f5e052c-3509-4a35-beb8-21ff1d252ff6" providerId="ADAL" clId="{C672ED15-A6FF-4FC0-B7F6-AB7C1A683D45}" dt="2026-02-24T04:15:30.663" v="577" actId="26606"/>
          <ac:spMkLst>
            <pc:docMk/>
            <pc:sldMk cId="2817195244" sldId="7709"/>
            <ac:spMk id="4" creationId="{BCBE4A85-0CC6-9F28-74EC-6828FA3831B0}"/>
          </ac:spMkLst>
        </pc:spChg>
        <pc:spChg chg="mod">
          <ac:chgData name="Mike Hershey" userId="2f5e052c-3509-4a35-beb8-21ff1d252ff6" providerId="ADAL" clId="{C672ED15-A6FF-4FC0-B7F6-AB7C1A683D45}" dt="2026-02-24T15:25:13.711" v="2339" actId="207"/>
          <ac:spMkLst>
            <pc:docMk/>
            <pc:sldMk cId="2817195244" sldId="7709"/>
            <ac:spMk id="5" creationId="{498598C7-B1AC-B426-22C1-1CE71812F7AE}"/>
          </ac:spMkLst>
        </pc:spChg>
        <pc:picChg chg="add mod">
          <ac:chgData name="Mike Hershey" userId="2f5e052c-3509-4a35-beb8-21ff1d252ff6" providerId="ADAL" clId="{C672ED15-A6FF-4FC0-B7F6-AB7C1A683D45}" dt="2026-02-24T04:26:30.050" v="927" actId="1076"/>
          <ac:picMkLst>
            <pc:docMk/>
            <pc:sldMk cId="2817195244" sldId="7709"/>
            <ac:picMk id="3" creationId="{EAD676C0-8097-A2C5-125C-5AED392EC793}"/>
          </ac:picMkLst>
        </pc:picChg>
        <pc:picChg chg="del">
          <ac:chgData name="Mike Hershey" userId="2f5e052c-3509-4a35-beb8-21ff1d252ff6" providerId="ADAL" clId="{C672ED15-A6FF-4FC0-B7F6-AB7C1A683D45}" dt="2026-02-24T04:13:15.863" v="570" actId="478"/>
          <ac:picMkLst>
            <pc:docMk/>
            <pc:sldMk cId="2817195244" sldId="7709"/>
            <ac:picMk id="3080" creationId="{FBEC9A14-A7C7-2FBD-F362-AC44BC6BF2B3}"/>
          </ac:picMkLst>
        </pc:picChg>
        <pc:picChg chg="del">
          <ac:chgData name="Mike Hershey" userId="2f5e052c-3509-4a35-beb8-21ff1d252ff6" providerId="ADAL" clId="{C672ED15-A6FF-4FC0-B7F6-AB7C1A683D45}" dt="2026-02-24T04:13:18.151" v="571" actId="478"/>
          <ac:picMkLst>
            <pc:docMk/>
            <pc:sldMk cId="2817195244" sldId="7709"/>
            <ac:picMk id="3082" creationId="{572D7FE2-670A-590B-5761-EC89446414CD}"/>
          </ac:picMkLst>
        </pc:picChg>
      </pc:sldChg>
      <pc:sldChg chg="del">
        <pc:chgData name="Mike Hershey" userId="2f5e052c-3509-4a35-beb8-21ff1d252ff6" providerId="ADAL" clId="{C672ED15-A6FF-4FC0-B7F6-AB7C1A683D45}" dt="2026-02-24T15:59:06.687" v="2753" actId="47"/>
        <pc:sldMkLst>
          <pc:docMk/>
          <pc:sldMk cId="716868326" sldId="7711"/>
        </pc:sldMkLst>
      </pc:sldChg>
      <pc:sldChg chg="del">
        <pc:chgData name="Mike Hershey" userId="2f5e052c-3509-4a35-beb8-21ff1d252ff6" providerId="ADAL" clId="{C672ED15-A6FF-4FC0-B7F6-AB7C1A683D45}" dt="2026-02-24T15:59:08.432" v="2754" actId="47"/>
        <pc:sldMkLst>
          <pc:docMk/>
          <pc:sldMk cId="1644800253" sldId="7712"/>
        </pc:sldMkLst>
      </pc:sldChg>
      <pc:sldChg chg="del">
        <pc:chgData name="Mike Hershey" userId="2f5e052c-3509-4a35-beb8-21ff1d252ff6" providerId="ADAL" clId="{C672ED15-A6FF-4FC0-B7F6-AB7C1A683D45}" dt="2026-02-24T15:58:45.525" v="2747" actId="47"/>
        <pc:sldMkLst>
          <pc:docMk/>
          <pc:sldMk cId="2474666548" sldId="7713"/>
        </pc:sldMkLst>
      </pc:sldChg>
      <pc:sldChg chg="del">
        <pc:chgData name="Mike Hershey" userId="2f5e052c-3509-4a35-beb8-21ff1d252ff6" providerId="ADAL" clId="{C672ED15-A6FF-4FC0-B7F6-AB7C1A683D45}" dt="2026-02-24T15:59:11.849" v="2756" actId="47"/>
        <pc:sldMkLst>
          <pc:docMk/>
          <pc:sldMk cId="3085026860" sldId="7714"/>
        </pc:sldMkLst>
      </pc:sldChg>
      <pc:sldChg chg="modSp add del mod">
        <pc:chgData name="Mike Hershey" userId="2f5e052c-3509-4a35-beb8-21ff1d252ff6" providerId="ADAL" clId="{C672ED15-A6FF-4FC0-B7F6-AB7C1A683D45}" dt="2026-02-24T17:14:35.395" v="3899" actId="47"/>
        <pc:sldMkLst>
          <pc:docMk/>
          <pc:sldMk cId="479797318" sldId="7715"/>
        </pc:sldMkLst>
        <pc:spChg chg="mod">
          <ac:chgData name="Mike Hershey" userId="2f5e052c-3509-4a35-beb8-21ff1d252ff6" providerId="ADAL" clId="{C672ED15-A6FF-4FC0-B7F6-AB7C1A683D45}" dt="2026-02-24T17:12:08.079" v="3855" actId="20577"/>
          <ac:spMkLst>
            <pc:docMk/>
            <pc:sldMk cId="479797318" sldId="7715"/>
            <ac:spMk id="5" creationId="{E43B3DC6-0F20-35C1-D8A0-FCF917E364C0}"/>
          </ac:spMkLst>
        </pc:spChg>
      </pc:sldChg>
      <pc:sldChg chg="addSp delSp modSp add mod ord">
        <pc:chgData name="Mike Hershey" userId="2f5e052c-3509-4a35-beb8-21ff1d252ff6" providerId="ADAL" clId="{C672ED15-A6FF-4FC0-B7F6-AB7C1A683D45}" dt="2026-02-24T17:15:10.380" v="3907" actId="20577"/>
        <pc:sldMkLst>
          <pc:docMk/>
          <pc:sldMk cId="1016219960" sldId="7716"/>
        </pc:sldMkLst>
        <pc:spChg chg="mod">
          <ac:chgData name="Mike Hershey" userId="2f5e052c-3509-4a35-beb8-21ff1d252ff6" providerId="ADAL" clId="{C672ED15-A6FF-4FC0-B7F6-AB7C1A683D45}" dt="2026-02-24T17:15:10.380" v="3907" actId="20577"/>
          <ac:spMkLst>
            <pc:docMk/>
            <pc:sldMk cId="1016219960" sldId="7716"/>
            <ac:spMk id="5" creationId="{F419445B-F8A9-570E-781F-729200CFB816}"/>
          </ac:spMkLst>
        </pc:spChg>
        <pc:spChg chg="add del mod">
          <ac:chgData name="Mike Hershey" userId="2f5e052c-3509-4a35-beb8-21ff1d252ff6" providerId="ADAL" clId="{C672ED15-A6FF-4FC0-B7F6-AB7C1A683D45}" dt="2026-02-24T15:45:08.515" v="2609" actId="478"/>
          <ac:spMkLst>
            <pc:docMk/>
            <pc:sldMk cId="1016219960" sldId="7716"/>
            <ac:spMk id="6" creationId="{A8E0D56B-F0ED-106D-6270-C7197A533909}"/>
          </ac:spMkLst>
        </pc:spChg>
        <pc:picChg chg="mod">
          <ac:chgData name="Mike Hershey" userId="2f5e052c-3509-4a35-beb8-21ff1d252ff6" providerId="ADAL" clId="{C672ED15-A6FF-4FC0-B7F6-AB7C1A683D45}" dt="2026-02-24T15:51:35.736" v="2739" actId="14100"/>
          <ac:picMkLst>
            <pc:docMk/>
            <pc:sldMk cId="1016219960" sldId="7716"/>
            <ac:picMk id="13" creationId="{6C98C2D1-F599-F228-1ABB-93D85FCDD305}"/>
          </ac:picMkLst>
        </pc:picChg>
        <pc:picChg chg="del mod">
          <ac:chgData name="Mike Hershey" userId="2f5e052c-3509-4a35-beb8-21ff1d252ff6" providerId="ADAL" clId="{C672ED15-A6FF-4FC0-B7F6-AB7C1A683D45}" dt="2026-02-24T15:50:12.128" v="2709" actId="478"/>
          <ac:picMkLst>
            <pc:docMk/>
            <pc:sldMk cId="1016219960" sldId="7716"/>
            <ac:picMk id="14" creationId="{D7354085-3012-22D7-25D8-AB087EC8BED6}"/>
          </ac:picMkLst>
        </pc:picChg>
        <pc:picChg chg="add del mod">
          <ac:chgData name="Mike Hershey" userId="2f5e052c-3509-4a35-beb8-21ff1d252ff6" providerId="ADAL" clId="{C672ED15-A6FF-4FC0-B7F6-AB7C1A683D45}" dt="2026-02-24T16:35:11.210" v="3160" actId="478"/>
          <ac:picMkLst>
            <pc:docMk/>
            <pc:sldMk cId="1016219960" sldId="7716"/>
            <ac:picMk id="15" creationId="{384A0CC2-0E2E-E7EE-0546-DCC5BFAE7B69}"/>
          </ac:picMkLst>
        </pc:picChg>
        <pc:picChg chg="mod">
          <ac:chgData name="Mike Hershey" userId="2f5e052c-3509-4a35-beb8-21ff1d252ff6" providerId="ADAL" clId="{C672ED15-A6FF-4FC0-B7F6-AB7C1A683D45}" dt="2026-02-24T15:49:58.163" v="2706" actId="1076"/>
          <ac:picMkLst>
            <pc:docMk/>
            <pc:sldMk cId="1016219960" sldId="7716"/>
            <ac:picMk id="16" creationId="{7A933B8C-B408-DB0C-BCDE-477AD9D5BBC3}"/>
          </ac:picMkLst>
        </pc:picChg>
        <pc:picChg chg="mod">
          <ac:chgData name="Mike Hershey" userId="2f5e052c-3509-4a35-beb8-21ff1d252ff6" providerId="ADAL" clId="{C672ED15-A6FF-4FC0-B7F6-AB7C1A683D45}" dt="2026-02-24T15:50:07.690" v="2708" actId="1076"/>
          <ac:picMkLst>
            <pc:docMk/>
            <pc:sldMk cId="1016219960" sldId="7716"/>
            <ac:picMk id="17" creationId="{04B59897-3E12-C59F-BAB9-5410CE59D233}"/>
          </ac:picMkLst>
        </pc:picChg>
      </pc:sldChg>
      <pc:sldChg chg="add del">
        <pc:chgData name="Mike Hershey" userId="2f5e052c-3509-4a35-beb8-21ff1d252ff6" providerId="ADAL" clId="{C672ED15-A6FF-4FC0-B7F6-AB7C1A683D45}" dt="2026-02-24T14:50:56.423" v="2234" actId="47"/>
        <pc:sldMkLst>
          <pc:docMk/>
          <pc:sldMk cId="2602593784" sldId="7717"/>
        </pc:sldMkLst>
      </pc:sldChg>
      <pc:sldChg chg="addSp delSp modSp add mod">
        <pc:chgData name="Mike Hershey" userId="2f5e052c-3509-4a35-beb8-21ff1d252ff6" providerId="ADAL" clId="{C672ED15-A6FF-4FC0-B7F6-AB7C1A683D45}" dt="2026-02-24T15:22:58.714" v="2325" actId="255"/>
        <pc:sldMkLst>
          <pc:docMk/>
          <pc:sldMk cId="3536502139" sldId="7717"/>
        </pc:sldMkLst>
        <pc:spChg chg="mod">
          <ac:chgData name="Mike Hershey" userId="2f5e052c-3509-4a35-beb8-21ff1d252ff6" providerId="ADAL" clId="{C672ED15-A6FF-4FC0-B7F6-AB7C1A683D45}" dt="2026-02-24T15:22:58.714" v="2325" actId="255"/>
          <ac:spMkLst>
            <pc:docMk/>
            <pc:sldMk cId="3536502139" sldId="7717"/>
            <ac:spMk id="2" creationId="{2C5C491F-7A3F-6524-6632-D21DA29C7EB6}"/>
          </ac:spMkLst>
        </pc:spChg>
        <pc:spChg chg="mod">
          <ac:chgData name="Mike Hershey" userId="2f5e052c-3509-4a35-beb8-21ff1d252ff6" providerId="ADAL" clId="{C672ED15-A6FF-4FC0-B7F6-AB7C1A683D45}" dt="2026-02-24T15:21:55.382" v="2320" actId="1076"/>
          <ac:spMkLst>
            <pc:docMk/>
            <pc:sldMk cId="3536502139" sldId="7717"/>
            <ac:spMk id="5" creationId="{C0290A42-A602-F74D-A8CC-5FAED6B7F913}"/>
          </ac:spMkLst>
        </pc:spChg>
        <pc:picChg chg="del">
          <ac:chgData name="Mike Hershey" userId="2f5e052c-3509-4a35-beb8-21ff1d252ff6" providerId="ADAL" clId="{C672ED15-A6FF-4FC0-B7F6-AB7C1A683D45}" dt="2026-02-24T15:19:10.537" v="2281" actId="478"/>
          <ac:picMkLst>
            <pc:docMk/>
            <pc:sldMk cId="3536502139" sldId="7717"/>
            <ac:picMk id="3" creationId="{50DDFB24-006F-FB76-B937-B887B3C3E895}"/>
          </ac:picMkLst>
        </pc:picChg>
        <pc:picChg chg="add mod">
          <ac:chgData name="Mike Hershey" userId="2f5e052c-3509-4a35-beb8-21ff1d252ff6" providerId="ADAL" clId="{C672ED15-A6FF-4FC0-B7F6-AB7C1A683D45}" dt="2026-02-24T15:20:33.842" v="2314" actId="1076"/>
          <ac:picMkLst>
            <pc:docMk/>
            <pc:sldMk cId="3536502139" sldId="7717"/>
            <ac:picMk id="6" creationId="{FC565DAE-FF70-6AA0-6050-0BD81AAD48DB}"/>
          </ac:picMkLst>
        </pc:picChg>
      </pc:sldChg>
      <pc:sldChg chg="add del ord">
        <pc:chgData name="Mike Hershey" userId="2f5e052c-3509-4a35-beb8-21ff1d252ff6" providerId="ADAL" clId="{C672ED15-A6FF-4FC0-B7F6-AB7C1A683D45}" dt="2026-02-24T18:58:43.754" v="6548" actId="47"/>
        <pc:sldMkLst>
          <pc:docMk/>
          <pc:sldMk cId="3148742660" sldId="7718"/>
        </pc:sldMkLst>
      </pc:sldChg>
      <pc:sldChg chg="add del ord">
        <pc:chgData name="Mike Hershey" userId="2f5e052c-3509-4a35-beb8-21ff1d252ff6" providerId="ADAL" clId="{C672ED15-A6FF-4FC0-B7F6-AB7C1A683D45}" dt="2026-02-24T17:41:28.122" v="5054" actId="47"/>
        <pc:sldMkLst>
          <pc:docMk/>
          <pc:sldMk cId="1803633006" sldId="7719"/>
        </pc:sldMkLst>
      </pc:sldChg>
      <pc:sldChg chg="modSp add del mod">
        <pc:chgData name="Mike Hershey" userId="2f5e052c-3509-4a35-beb8-21ff1d252ff6" providerId="ADAL" clId="{C672ED15-A6FF-4FC0-B7F6-AB7C1A683D45}" dt="2026-02-24T16:34:49.537" v="3158" actId="47"/>
        <pc:sldMkLst>
          <pc:docMk/>
          <pc:sldMk cId="1689017421" sldId="7720"/>
        </pc:sldMkLst>
        <pc:spChg chg="mod">
          <ac:chgData name="Mike Hershey" userId="2f5e052c-3509-4a35-beb8-21ff1d252ff6" providerId="ADAL" clId="{C672ED15-A6FF-4FC0-B7F6-AB7C1A683D45}" dt="2026-02-24T16:25:33.442" v="3033" actId="20577"/>
          <ac:spMkLst>
            <pc:docMk/>
            <pc:sldMk cId="1689017421" sldId="7720"/>
            <ac:spMk id="5" creationId="{E2E9C56A-900B-B1CC-6971-331236223085}"/>
          </ac:spMkLst>
        </pc:spChg>
      </pc:sldChg>
      <pc:sldChg chg="addSp delSp modSp add mod">
        <pc:chgData name="Mike Hershey" userId="2f5e052c-3509-4a35-beb8-21ff1d252ff6" providerId="ADAL" clId="{C672ED15-A6FF-4FC0-B7F6-AB7C1A683D45}" dt="2026-02-24T16:55:54.632" v="3380" actId="1076"/>
        <pc:sldMkLst>
          <pc:docMk/>
          <pc:sldMk cId="516011063" sldId="7721"/>
        </pc:sldMkLst>
        <pc:spChg chg="mod">
          <ac:chgData name="Mike Hershey" userId="2f5e052c-3509-4a35-beb8-21ff1d252ff6" providerId="ADAL" clId="{C672ED15-A6FF-4FC0-B7F6-AB7C1A683D45}" dt="2026-02-24T16:55:24.510" v="3374" actId="20577"/>
          <ac:spMkLst>
            <pc:docMk/>
            <pc:sldMk cId="516011063" sldId="7721"/>
            <ac:spMk id="5" creationId="{02E24F2B-822B-2D43-966E-ED22406995CB}"/>
          </ac:spMkLst>
        </pc:spChg>
        <pc:picChg chg="add mod">
          <ac:chgData name="Mike Hershey" userId="2f5e052c-3509-4a35-beb8-21ff1d252ff6" providerId="ADAL" clId="{C672ED15-A6FF-4FC0-B7F6-AB7C1A683D45}" dt="2026-02-24T16:50:35.803" v="3365" actId="1076"/>
          <ac:picMkLst>
            <pc:docMk/>
            <pc:sldMk cId="516011063" sldId="7721"/>
            <ac:picMk id="3" creationId="{A6F9A991-EF81-FADC-4E08-B72FEBB866E5}"/>
          </ac:picMkLst>
        </pc:picChg>
        <pc:picChg chg="add mod">
          <ac:chgData name="Mike Hershey" userId="2f5e052c-3509-4a35-beb8-21ff1d252ff6" providerId="ADAL" clId="{C672ED15-A6FF-4FC0-B7F6-AB7C1A683D45}" dt="2026-02-24T16:55:42.112" v="3376" actId="1076"/>
          <ac:picMkLst>
            <pc:docMk/>
            <pc:sldMk cId="516011063" sldId="7721"/>
            <ac:picMk id="6" creationId="{0D4CD44E-47FF-9128-630B-E7EF574AA51C}"/>
          </ac:picMkLst>
        </pc:picChg>
        <pc:picChg chg="add mod">
          <ac:chgData name="Mike Hershey" userId="2f5e052c-3509-4a35-beb8-21ff1d252ff6" providerId="ADAL" clId="{C672ED15-A6FF-4FC0-B7F6-AB7C1A683D45}" dt="2026-02-24T16:55:49.187" v="3378" actId="1076"/>
          <ac:picMkLst>
            <pc:docMk/>
            <pc:sldMk cId="516011063" sldId="7721"/>
            <ac:picMk id="7" creationId="{3A840ACE-C497-565A-C20C-34B5CC2A3FFC}"/>
          </ac:picMkLst>
        </pc:picChg>
        <pc:picChg chg="add mod">
          <ac:chgData name="Mike Hershey" userId="2f5e052c-3509-4a35-beb8-21ff1d252ff6" providerId="ADAL" clId="{C672ED15-A6FF-4FC0-B7F6-AB7C1A683D45}" dt="2026-02-24T16:55:54.632" v="3380" actId="1076"/>
          <ac:picMkLst>
            <pc:docMk/>
            <pc:sldMk cId="516011063" sldId="7721"/>
            <ac:picMk id="8" creationId="{B345EE83-05A6-B858-DFFD-612743240BE4}"/>
          </ac:picMkLst>
        </pc:picChg>
        <pc:picChg chg="del mod">
          <ac:chgData name="Mike Hershey" userId="2f5e052c-3509-4a35-beb8-21ff1d252ff6" providerId="ADAL" clId="{C672ED15-A6FF-4FC0-B7F6-AB7C1A683D45}" dt="2026-02-24T16:48:19.270" v="3345" actId="478"/>
          <ac:picMkLst>
            <pc:docMk/>
            <pc:sldMk cId="516011063" sldId="7721"/>
            <ac:picMk id="15" creationId="{E18A2439-8670-8B17-C539-C202916ACD5D}"/>
          </ac:picMkLst>
        </pc:picChg>
        <pc:picChg chg="del mod">
          <ac:chgData name="Mike Hershey" userId="2f5e052c-3509-4a35-beb8-21ff1d252ff6" providerId="ADAL" clId="{C672ED15-A6FF-4FC0-B7F6-AB7C1A683D45}" dt="2026-02-24T16:50:32.457" v="3364" actId="478"/>
          <ac:picMkLst>
            <pc:docMk/>
            <pc:sldMk cId="516011063" sldId="7721"/>
            <ac:picMk id="16" creationId="{FF5937E4-4B70-F046-C2E0-4CE8C6290F5B}"/>
          </ac:picMkLst>
        </pc:picChg>
        <pc:picChg chg="del mod">
          <ac:chgData name="Mike Hershey" userId="2f5e052c-3509-4a35-beb8-21ff1d252ff6" providerId="ADAL" clId="{C672ED15-A6FF-4FC0-B7F6-AB7C1A683D45}" dt="2026-02-24T16:48:24.316" v="3346" actId="478"/>
          <ac:picMkLst>
            <pc:docMk/>
            <pc:sldMk cId="516011063" sldId="7721"/>
            <ac:picMk id="17" creationId="{34A25D9F-5042-F3E1-2D82-67C2271ABDBC}"/>
          </ac:picMkLst>
        </pc:picChg>
      </pc:sldChg>
      <pc:sldChg chg="addSp modSp add mod">
        <pc:chgData name="Mike Hershey" userId="2f5e052c-3509-4a35-beb8-21ff1d252ff6" providerId="ADAL" clId="{C672ED15-A6FF-4FC0-B7F6-AB7C1A683D45}" dt="2026-02-24T18:18:17.804" v="5194" actId="20577"/>
        <pc:sldMkLst>
          <pc:docMk/>
          <pc:sldMk cId="480001393" sldId="7722"/>
        </pc:sldMkLst>
        <pc:spChg chg="mod">
          <ac:chgData name="Mike Hershey" userId="2f5e052c-3509-4a35-beb8-21ff1d252ff6" providerId="ADAL" clId="{C672ED15-A6FF-4FC0-B7F6-AB7C1A683D45}" dt="2026-02-24T18:18:17.804" v="5194" actId="20577"/>
          <ac:spMkLst>
            <pc:docMk/>
            <pc:sldMk cId="480001393" sldId="7722"/>
            <ac:spMk id="5" creationId="{14221FDC-1009-A640-048D-E2CE7D862B1E}"/>
          </ac:spMkLst>
        </pc:spChg>
        <pc:picChg chg="add mod">
          <ac:chgData name="Mike Hershey" userId="2f5e052c-3509-4a35-beb8-21ff1d252ff6" providerId="ADAL" clId="{C672ED15-A6FF-4FC0-B7F6-AB7C1A683D45}" dt="2026-02-24T16:50:43.965" v="3366"/>
          <ac:picMkLst>
            <pc:docMk/>
            <pc:sldMk cId="480001393" sldId="7722"/>
            <ac:picMk id="3" creationId="{F93A1E9A-7C17-CA6A-11CD-BDE6513BFD3C}"/>
          </ac:picMkLst>
        </pc:picChg>
        <pc:picChg chg="mod">
          <ac:chgData name="Mike Hershey" userId="2f5e052c-3509-4a35-beb8-21ff1d252ff6" providerId="ADAL" clId="{C672ED15-A6FF-4FC0-B7F6-AB7C1A683D45}" dt="2026-02-24T16:33:44.252" v="3152" actId="1076"/>
          <ac:picMkLst>
            <pc:docMk/>
            <pc:sldMk cId="480001393" sldId="7722"/>
            <ac:picMk id="17" creationId="{DF7D6955-FC15-C6EE-B9C5-1632247BF3EB}"/>
          </ac:picMkLst>
        </pc:picChg>
      </pc:sldChg>
      <pc:sldChg chg="addSp modSp add mod">
        <pc:chgData name="Mike Hershey" userId="2f5e052c-3509-4a35-beb8-21ff1d252ff6" providerId="ADAL" clId="{C672ED15-A6FF-4FC0-B7F6-AB7C1A683D45}" dt="2026-02-24T16:50:13.954" v="3361" actId="1076"/>
        <pc:sldMkLst>
          <pc:docMk/>
          <pc:sldMk cId="2757911014" sldId="7723"/>
        </pc:sldMkLst>
        <pc:spChg chg="mod">
          <ac:chgData name="Mike Hershey" userId="2f5e052c-3509-4a35-beb8-21ff1d252ff6" providerId="ADAL" clId="{C672ED15-A6FF-4FC0-B7F6-AB7C1A683D45}" dt="2026-02-24T16:50:09.887" v="3360" actId="1076"/>
          <ac:spMkLst>
            <pc:docMk/>
            <pc:sldMk cId="2757911014" sldId="7723"/>
            <ac:spMk id="5" creationId="{282A82CB-4D1A-1000-C968-493548275084}"/>
          </ac:spMkLst>
        </pc:spChg>
        <pc:picChg chg="add mod">
          <ac:chgData name="Mike Hershey" userId="2f5e052c-3509-4a35-beb8-21ff1d252ff6" providerId="ADAL" clId="{C672ED15-A6FF-4FC0-B7F6-AB7C1A683D45}" dt="2026-02-24T16:50:13.954" v="3361" actId="1076"/>
          <ac:picMkLst>
            <pc:docMk/>
            <pc:sldMk cId="2757911014" sldId="7723"/>
            <ac:picMk id="3" creationId="{9324CDDF-C7A7-0FE4-3AFC-55A1D4E72C4D}"/>
          </ac:picMkLst>
        </pc:picChg>
      </pc:sldChg>
      <pc:sldChg chg="addSp modSp add mod">
        <pc:chgData name="Mike Hershey" userId="2f5e052c-3509-4a35-beb8-21ff1d252ff6" providerId="ADAL" clId="{C672ED15-A6FF-4FC0-B7F6-AB7C1A683D45}" dt="2026-02-24T17:33:57.837" v="4539" actId="1076"/>
        <pc:sldMkLst>
          <pc:docMk/>
          <pc:sldMk cId="3332761994" sldId="7724"/>
        </pc:sldMkLst>
        <pc:spChg chg="mod">
          <ac:chgData name="Mike Hershey" userId="2f5e052c-3509-4a35-beb8-21ff1d252ff6" providerId="ADAL" clId="{C672ED15-A6FF-4FC0-B7F6-AB7C1A683D45}" dt="2026-02-24T17:33:35.081" v="4534" actId="255"/>
          <ac:spMkLst>
            <pc:docMk/>
            <pc:sldMk cId="3332761994" sldId="7724"/>
            <ac:spMk id="5" creationId="{752B9A76-4E55-0876-7188-0E96940E739D}"/>
          </ac:spMkLst>
        </pc:spChg>
        <pc:picChg chg="add mod">
          <ac:chgData name="Mike Hershey" userId="2f5e052c-3509-4a35-beb8-21ff1d252ff6" providerId="ADAL" clId="{C672ED15-A6FF-4FC0-B7F6-AB7C1A683D45}" dt="2026-02-24T17:33:52.358" v="4538" actId="1076"/>
          <ac:picMkLst>
            <pc:docMk/>
            <pc:sldMk cId="3332761994" sldId="7724"/>
            <ac:picMk id="3" creationId="{EB37A082-6A59-78EF-A6F4-4C88914F5F53}"/>
          </ac:picMkLst>
        </pc:picChg>
        <pc:picChg chg="mod">
          <ac:chgData name="Mike Hershey" userId="2f5e052c-3509-4a35-beb8-21ff1d252ff6" providerId="ADAL" clId="{C672ED15-A6FF-4FC0-B7F6-AB7C1A683D45}" dt="2026-02-24T17:33:46.732" v="4536" actId="1076"/>
          <ac:picMkLst>
            <pc:docMk/>
            <pc:sldMk cId="3332761994" sldId="7724"/>
            <ac:picMk id="15" creationId="{1147ED40-2318-0285-1541-3893230F64B7}"/>
          </ac:picMkLst>
        </pc:picChg>
        <pc:picChg chg="mod">
          <ac:chgData name="Mike Hershey" userId="2f5e052c-3509-4a35-beb8-21ff1d252ff6" providerId="ADAL" clId="{C672ED15-A6FF-4FC0-B7F6-AB7C1A683D45}" dt="2026-02-24T17:33:57.837" v="4539" actId="1076"/>
          <ac:picMkLst>
            <pc:docMk/>
            <pc:sldMk cId="3332761994" sldId="7724"/>
            <ac:picMk id="16" creationId="{8985424F-F54C-60C1-7247-103EFF1726C4}"/>
          </ac:picMkLst>
        </pc:picChg>
        <pc:picChg chg="mod">
          <ac:chgData name="Mike Hershey" userId="2f5e052c-3509-4a35-beb8-21ff1d252ff6" providerId="ADAL" clId="{C672ED15-A6FF-4FC0-B7F6-AB7C1A683D45}" dt="2026-02-24T17:33:49.382" v="4537" actId="1076"/>
          <ac:picMkLst>
            <pc:docMk/>
            <pc:sldMk cId="3332761994" sldId="7724"/>
            <ac:picMk id="17" creationId="{1B2A212E-3EAE-DA8A-9964-43F472432885}"/>
          </ac:picMkLst>
        </pc:picChg>
      </pc:sldChg>
      <pc:sldChg chg="addSp delSp modSp add mod">
        <pc:chgData name="Mike Hershey" userId="2f5e052c-3509-4a35-beb8-21ff1d252ff6" providerId="ADAL" clId="{C672ED15-A6FF-4FC0-B7F6-AB7C1A683D45}" dt="2026-02-24T19:01:13.467" v="6573" actId="20577"/>
        <pc:sldMkLst>
          <pc:docMk/>
          <pc:sldMk cId="972404315" sldId="7725"/>
        </pc:sldMkLst>
        <pc:spChg chg="mod">
          <ac:chgData name="Mike Hershey" userId="2f5e052c-3509-4a35-beb8-21ff1d252ff6" providerId="ADAL" clId="{C672ED15-A6FF-4FC0-B7F6-AB7C1A683D45}" dt="2026-02-24T19:01:13.467" v="6573" actId="20577"/>
          <ac:spMkLst>
            <pc:docMk/>
            <pc:sldMk cId="972404315" sldId="7725"/>
            <ac:spMk id="5" creationId="{74A13D31-00C9-18B6-6490-F1B0CC217C43}"/>
          </ac:spMkLst>
        </pc:spChg>
        <pc:picChg chg="del">
          <ac:chgData name="Mike Hershey" userId="2f5e052c-3509-4a35-beb8-21ff1d252ff6" providerId="ADAL" clId="{C672ED15-A6FF-4FC0-B7F6-AB7C1A683D45}" dt="2026-02-24T17:37:12.049" v="4827" actId="478"/>
          <ac:picMkLst>
            <pc:docMk/>
            <pc:sldMk cId="972404315" sldId="7725"/>
            <ac:picMk id="3" creationId="{17C9DD3C-FABF-1F1B-1F2B-7CFEB89D7385}"/>
          </ac:picMkLst>
        </pc:picChg>
        <pc:picChg chg="add mod">
          <ac:chgData name="Mike Hershey" userId="2f5e052c-3509-4a35-beb8-21ff1d252ff6" providerId="ADAL" clId="{C672ED15-A6FF-4FC0-B7F6-AB7C1A683D45}" dt="2026-02-24T18:57:33.309" v="6536" actId="1076"/>
          <ac:picMkLst>
            <pc:docMk/>
            <pc:sldMk cId="972404315" sldId="7725"/>
            <ac:picMk id="6" creationId="{8904220C-06D0-66B9-C66E-F553E0932D63}"/>
          </ac:picMkLst>
        </pc:picChg>
        <pc:picChg chg="add mod">
          <ac:chgData name="Mike Hershey" userId="2f5e052c-3509-4a35-beb8-21ff1d252ff6" providerId="ADAL" clId="{C672ED15-A6FF-4FC0-B7F6-AB7C1A683D45}" dt="2026-02-24T18:49:07.197" v="6481" actId="1076"/>
          <ac:picMkLst>
            <pc:docMk/>
            <pc:sldMk cId="972404315" sldId="7725"/>
            <ac:picMk id="7" creationId="{0F85B335-AF0D-1BBD-C86F-9399DE648C8F}"/>
          </ac:picMkLst>
        </pc:picChg>
        <pc:picChg chg="mod">
          <ac:chgData name="Mike Hershey" userId="2f5e052c-3509-4a35-beb8-21ff1d252ff6" providerId="ADAL" clId="{C672ED15-A6FF-4FC0-B7F6-AB7C1A683D45}" dt="2026-02-24T18:57:29.851" v="6534" actId="1076"/>
          <ac:picMkLst>
            <pc:docMk/>
            <pc:sldMk cId="972404315" sldId="7725"/>
            <ac:picMk id="15" creationId="{B7B9EA67-B595-6FB1-B76F-3CF477C3922A}"/>
          </ac:picMkLst>
        </pc:picChg>
        <pc:picChg chg="mod">
          <ac:chgData name="Mike Hershey" userId="2f5e052c-3509-4a35-beb8-21ff1d252ff6" providerId="ADAL" clId="{C672ED15-A6FF-4FC0-B7F6-AB7C1A683D45}" dt="2026-02-24T18:57:28.040" v="6533" actId="1076"/>
          <ac:picMkLst>
            <pc:docMk/>
            <pc:sldMk cId="972404315" sldId="7725"/>
            <ac:picMk id="16" creationId="{2A444A01-3744-4271-57A3-86258EFF10A8}"/>
          </ac:picMkLst>
        </pc:picChg>
        <pc:picChg chg="mod">
          <ac:chgData name="Mike Hershey" userId="2f5e052c-3509-4a35-beb8-21ff1d252ff6" providerId="ADAL" clId="{C672ED15-A6FF-4FC0-B7F6-AB7C1A683D45}" dt="2026-02-24T18:57:31.635" v="6535" actId="1076"/>
          <ac:picMkLst>
            <pc:docMk/>
            <pc:sldMk cId="972404315" sldId="7725"/>
            <ac:picMk id="17" creationId="{0B91D08D-CF1F-13D0-681B-AD32CABEDA4A}"/>
          </ac:picMkLst>
        </pc:picChg>
      </pc:sldChg>
      <pc:sldChg chg="modSp add mod">
        <pc:chgData name="Mike Hershey" userId="2f5e052c-3509-4a35-beb8-21ff1d252ff6" providerId="ADAL" clId="{C672ED15-A6FF-4FC0-B7F6-AB7C1A683D45}" dt="2026-02-24T17:49:22.155" v="5120" actId="20577"/>
        <pc:sldMkLst>
          <pc:docMk/>
          <pc:sldMk cId="1871086959" sldId="7726"/>
        </pc:sldMkLst>
        <pc:spChg chg="mod">
          <ac:chgData name="Mike Hershey" userId="2f5e052c-3509-4a35-beb8-21ff1d252ff6" providerId="ADAL" clId="{C672ED15-A6FF-4FC0-B7F6-AB7C1A683D45}" dt="2026-02-24T17:49:22.155" v="5120" actId="20577"/>
          <ac:spMkLst>
            <pc:docMk/>
            <pc:sldMk cId="1871086959" sldId="7726"/>
            <ac:spMk id="5" creationId="{9CEE0E4E-DCEF-DD8A-DA58-5655CC67342F}"/>
          </ac:spMkLst>
        </pc:spChg>
      </pc:sldChg>
      <pc:sldChg chg="addSp modSp add mod ord">
        <pc:chgData name="Mike Hershey" userId="2f5e052c-3509-4a35-beb8-21ff1d252ff6" providerId="ADAL" clId="{C672ED15-A6FF-4FC0-B7F6-AB7C1A683D45}" dt="2026-02-24T18:59:53.268" v="6553" actId="20577"/>
        <pc:sldMkLst>
          <pc:docMk/>
          <pc:sldMk cId="3220258143" sldId="7727"/>
        </pc:sldMkLst>
        <pc:spChg chg="mod">
          <ac:chgData name="Mike Hershey" userId="2f5e052c-3509-4a35-beb8-21ff1d252ff6" providerId="ADAL" clId="{C672ED15-A6FF-4FC0-B7F6-AB7C1A683D45}" dt="2026-02-24T18:59:53.268" v="6553" actId="20577"/>
          <ac:spMkLst>
            <pc:docMk/>
            <pc:sldMk cId="3220258143" sldId="7727"/>
            <ac:spMk id="5" creationId="{89B72523-E91B-6052-ADF2-1DBC9FD8D5D0}"/>
          </ac:spMkLst>
        </pc:spChg>
        <pc:picChg chg="add mod">
          <ac:chgData name="Mike Hershey" userId="2f5e052c-3509-4a35-beb8-21ff1d252ff6" providerId="ADAL" clId="{C672ED15-A6FF-4FC0-B7F6-AB7C1A683D45}" dt="2026-02-24T18:39:26.099" v="6297" actId="1076"/>
          <ac:picMkLst>
            <pc:docMk/>
            <pc:sldMk cId="3220258143" sldId="7727"/>
            <ac:picMk id="3" creationId="{E025ACA3-773A-8FA2-0470-CC25731F2AB5}"/>
          </ac:picMkLst>
        </pc:picChg>
        <pc:picChg chg="add mod">
          <ac:chgData name="Mike Hershey" userId="2f5e052c-3509-4a35-beb8-21ff1d252ff6" providerId="ADAL" clId="{C672ED15-A6FF-4FC0-B7F6-AB7C1A683D45}" dt="2026-02-24T18:39:14.833" v="6295" actId="1076"/>
          <ac:picMkLst>
            <pc:docMk/>
            <pc:sldMk cId="3220258143" sldId="7727"/>
            <ac:picMk id="6" creationId="{CA428D38-B310-1CE5-54B8-5213BFE1798A}"/>
          </ac:picMkLst>
        </pc:picChg>
        <pc:picChg chg="mod">
          <ac:chgData name="Mike Hershey" userId="2f5e052c-3509-4a35-beb8-21ff1d252ff6" providerId="ADAL" clId="{C672ED15-A6FF-4FC0-B7F6-AB7C1A683D45}" dt="2026-02-24T18:39:23.411" v="6296" actId="1076"/>
          <ac:picMkLst>
            <pc:docMk/>
            <pc:sldMk cId="3220258143" sldId="7727"/>
            <ac:picMk id="15" creationId="{8F44D34F-70F6-714B-41EB-5CD99DCADC8D}"/>
          </ac:picMkLst>
        </pc:picChg>
        <pc:picChg chg="mod">
          <ac:chgData name="Mike Hershey" userId="2f5e052c-3509-4a35-beb8-21ff1d252ff6" providerId="ADAL" clId="{C672ED15-A6FF-4FC0-B7F6-AB7C1A683D45}" dt="2026-02-24T18:39:30.981" v="6299" actId="1076"/>
          <ac:picMkLst>
            <pc:docMk/>
            <pc:sldMk cId="3220258143" sldId="7727"/>
            <ac:picMk id="16" creationId="{A09291D4-6ADC-24C2-3634-5CCC1E0CE41E}"/>
          </ac:picMkLst>
        </pc:picChg>
        <pc:picChg chg="mod">
          <ac:chgData name="Mike Hershey" userId="2f5e052c-3509-4a35-beb8-21ff1d252ff6" providerId="ADAL" clId="{C672ED15-A6FF-4FC0-B7F6-AB7C1A683D45}" dt="2026-02-24T18:39:27.416" v="6298" actId="1076"/>
          <ac:picMkLst>
            <pc:docMk/>
            <pc:sldMk cId="3220258143" sldId="7727"/>
            <ac:picMk id="17" creationId="{1C786037-FEDF-0A88-970E-6C9BF2A6B88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67504" cy="468678"/>
          </a:xfrm>
          <a:prstGeom prst="rect">
            <a:avLst/>
          </a:prstGeom>
        </p:spPr>
        <p:txBody>
          <a:bodyPr vert="horz" lIns="92176" tIns="46088" rIns="92176" bIns="4608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7919" y="1"/>
            <a:ext cx="3067504" cy="468678"/>
          </a:xfrm>
          <a:prstGeom prst="rect">
            <a:avLst/>
          </a:prstGeom>
        </p:spPr>
        <p:txBody>
          <a:bodyPr vert="horz" lIns="92176" tIns="46088" rIns="92176" bIns="46088" rtlCol="0"/>
          <a:lstStyle>
            <a:lvl1pPr algn="r">
              <a:defRPr sz="1200"/>
            </a:lvl1pPr>
          </a:lstStyle>
          <a:p>
            <a:fld id="{689B54F0-1D7F-4045-8213-B7D9C7FFB374}" type="datetimeFigureOut">
              <a:rPr lang="en-GB" smtClean="0"/>
              <a:pPr/>
              <a:t>24/02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92900"/>
            <a:ext cx="3067504" cy="468677"/>
          </a:xfrm>
          <a:prstGeom prst="rect">
            <a:avLst/>
          </a:prstGeom>
        </p:spPr>
        <p:txBody>
          <a:bodyPr vert="horz" lIns="92176" tIns="46088" rIns="92176" bIns="4608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7919" y="8892900"/>
            <a:ext cx="3067504" cy="468677"/>
          </a:xfrm>
          <a:prstGeom prst="rect">
            <a:avLst/>
          </a:prstGeom>
        </p:spPr>
        <p:txBody>
          <a:bodyPr vert="horz" lIns="92176" tIns="46088" rIns="92176" bIns="46088" rtlCol="0" anchor="b"/>
          <a:lstStyle>
            <a:lvl1pPr algn="r">
              <a:defRPr sz="1200"/>
            </a:lvl1pPr>
          </a:lstStyle>
          <a:p>
            <a:fld id="{D34632E1-11D0-46CC-8676-7C313BB9F55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632738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68154"/>
          </a:xfrm>
          <a:prstGeom prst="rect">
            <a:avLst/>
          </a:prstGeom>
        </p:spPr>
        <p:txBody>
          <a:bodyPr vert="horz" lIns="96329" tIns="48164" rIns="96329" bIns="4816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704" y="0"/>
            <a:ext cx="3066733" cy="468154"/>
          </a:xfrm>
          <a:prstGeom prst="rect">
            <a:avLst/>
          </a:prstGeom>
        </p:spPr>
        <p:txBody>
          <a:bodyPr vert="horz" lIns="96329" tIns="48164" rIns="96329" bIns="48164" rtlCol="0"/>
          <a:lstStyle>
            <a:lvl1pPr algn="r">
              <a:defRPr sz="1300"/>
            </a:lvl1pPr>
          </a:lstStyle>
          <a:p>
            <a:fld id="{D77633BE-0766-4701-97A4-87960AEAA15B}" type="datetimeFigureOut">
              <a:rPr lang="en-US" smtClean="0"/>
              <a:pPr/>
              <a:t>2/2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701675"/>
            <a:ext cx="6242050" cy="3511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29" tIns="48164" rIns="96329" bIns="4816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708" y="4447461"/>
            <a:ext cx="5661660" cy="4213384"/>
          </a:xfrm>
          <a:prstGeom prst="rect">
            <a:avLst/>
          </a:prstGeom>
        </p:spPr>
        <p:txBody>
          <a:bodyPr vert="horz" lIns="96329" tIns="48164" rIns="96329" bIns="4816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296"/>
            <a:ext cx="3066733" cy="468154"/>
          </a:xfrm>
          <a:prstGeom prst="rect">
            <a:avLst/>
          </a:prstGeom>
        </p:spPr>
        <p:txBody>
          <a:bodyPr vert="horz" lIns="96329" tIns="48164" rIns="96329" bIns="4816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704" y="8893296"/>
            <a:ext cx="3066733" cy="468154"/>
          </a:xfrm>
          <a:prstGeom prst="rect">
            <a:avLst/>
          </a:prstGeom>
        </p:spPr>
        <p:txBody>
          <a:bodyPr vert="horz" lIns="96329" tIns="48164" rIns="96329" bIns="48164" rtlCol="0" anchor="b"/>
          <a:lstStyle>
            <a:lvl1pPr algn="r">
              <a:defRPr sz="1300"/>
            </a:lvl1pPr>
          </a:lstStyle>
          <a:p>
            <a:fld id="{A2B71D9D-C59C-46A3-89DC-993D8C59CB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44224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71D9D-C59C-46A3-89DC-993D8C59CBB9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596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7E671-5B50-1CFD-3C85-41D9083384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90239C6-9730-A4C6-E0CC-C804A24EE3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928523-03B3-BD51-91E3-9E349FD5EE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4EA8BF-A280-0950-F9B1-FEE086D38A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988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6EB243-60BD-00A6-1BBB-C300140E74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AC58C4-2E15-3DE8-7847-7389206285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2EB0AA-D647-4D3C-AF2C-10646EE14D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16D484-54BF-07C6-0752-AB8C3C8FB2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1683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3868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081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8DC0B-D8D0-2E02-E871-BEDCF2EAF8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116983-2331-344F-CACA-3C8F33DC3F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F8D575-E3CF-2301-2E89-CAE080E38F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43DF9A-C1F6-E577-9367-F969A4DBC2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588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6458E8-1FD0-5BD2-4AEC-73DD040E1B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52B80C-5994-73C9-AF3A-34DD68A09D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5F8A36-EA3E-5566-08A3-A8701512D6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3BDF5F-E94C-0473-DE90-B1695ADB54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4686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B0FC2F-97F2-0DAF-9B0A-C606B57DC4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9589AB-5BB1-2DAB-FD9A-15B555BCF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27C43D-73FB-9F31-AD63-9FEE0ECBEE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2606CF-99F2-D9EE-1452-68B96AA1D5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6209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B8FC3-2FAB-B308-9F6F-2C5795B08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0D07B2-83E2-CC9D-3C2B-3852FBE33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ED8CC2-C265-37B8-65D4-FA4126A01A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E9752-745F-514A-96E1-AEDAB9D945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5670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6ECE7D-DA7E-0E60-BB76-158F8B04F2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E8BDD2-9875-7601-79DE-561A51A27D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6521D9-D598-5143-73CB-11659875FB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9F1635-36D9-5E19-4FE7-27B9C560E8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9390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FE4FC-1248-14B9-6343-38813AE071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DEE2CD-AD8C-7409-0F5E-132D076154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BE2B06-0E90-6C02-2A6B-E9E90BE3A7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A912D7-B8D2-9855-4453-4AFE80A34C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577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0" y="0"/>
            <a:ext cx="12192001" cy="6859788"/>
            <a:chOff x="0" y="0"/>
            <a:chExt cx="12192001" cy="6859788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2">
              <a:alphaModFix amt="1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9144000" cy="6858000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 userDrawn="1"/>
          </p:nvPicPr>
          <p:blipFill rotWithShape="1">
            <a:blip r:embed="rId2">
              <a:alphaModFix amt="1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805" r="27862"/>
            <a:stretch/>
          </p:blipFill>
          <p:spPr>
            <a:xfrm>
              <a:off x="9144001" y="1788"/>
              <a:ext cx="3048000" cy="6858000"/>
            </a:xfrm>
            <a:prstGeom prst="rect">
              <a:avLst/>
            </a:prstGeom>
          </p:spPr>
        </p:pic>
      </p:grpSp>
      <p:sp>
        <p:nvSpPr>
          <p:cNvPr id="7" name="Rectangle 6"/>
          <p:cNvSpPr/>
          <p:nvPr userDrawn="1"/>
        </p:nvSpPr>
        <p:spPr>
          <a:xfrm>
            <a:off x="0" y="4376360"/>
            <a:ext cx="12192000" cy="14996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0791" y="4628949"/>
            <a:ext cx="9359061" cy="492443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r>
              <a:rPr lang="en-US" sz="320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Presentation title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002A7A-E0CB-4E02-ADB3-635E847B3F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4605" b="37595"/>
          <a:stretch/>
        </p:blipFill>
        <p:spPr>
          <a:xfrm>
            <a:off x="8917757" y="551475"/>
            <a:ext cx="2832008" cy="83786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bg>
      <p:bgPr>
        <a:solidFill>
          <a:schemeClr val="dk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oogle Shape;18;p3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19" name="Google Shape;19;p3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" name="Google Shape;20;p3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1" name="Google Shape;21;p3"/>
          <p:cNvSpPr txBox="1">
            <a:spLocks noGrp="1"/>
          </p:cNvSpPr>
          <p:nvPr>
            <p:ph type="title"/>
          </p:nvPr>
        </p:nvSpPr>
        <p:spPr>
          <a:xfrm>
            <a:off x="972600" y="1763267"/>
            <a:ext cx="10251200" cy="2024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312359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cob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FC48C9-4D11-4988-A449-A17D82654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9632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FC48C9-4D11-4988-A449-A17D82654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7164A19E-2C70-426E-A34C-C36AEB0BA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42" t="4804" r="4089" b="214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67CA45AF-7720-43FA-B053-ECA91062D027}"/>
              </a:ext>
            </a:extLst>
          </p:cNvPr>
          <p:cNvGrpSpPr/>
          <p:nvPr userDrawn="1"/>
        </p:nvGrpSpPr>
        <p:grpSpPr>
          <a:xfrm>
            <a:off x="0" y="0"/>
            <a:ext cx="12192000" cy="6867778"/>
            <a:chOff x="1317625" y="-3676650"/>
            <a:chExt cx="7423150" cy="4181475"/>
          </a:xfrm>
          <a:solidFill>
            <a:schemeClr val="accent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62E63DAD-2EC6-4993-B437-7384F983D2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7625" y="-3676650"/>
              <a:ext cx="2690813" cy="4181475"/>
            </a:xfrm>
            <a:custGeom>
              <a:avLst/>
              <a:gdLst>
                <a:gd name="T0" fmla="*/ 0 w 1392"/>
                <a:gd name="T1" fmla="*/ 0 h 2160"/>
                <a:gd name="T2" fmla="*/ 0 w 1392"/>
                <a:gd name="T3" fmla="*/ 2160 h 2160"/>
                <a:gd name="T4" fmla="*/ 1392 w 1392"/>
                <a:gd name="T5" fmla="*/ 2160 h 2160"/>
                <a:gd name="T6" fmla="*/ 0 w 1392"/>
                <a:gd name="T7" fmla="*/ 0 h 2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2" h="2160">
                  <a:moveTo>
                    <a:pt x="0" y="0"/>
                  </a:moveTo>
                  <a:cubicBezTo>
                    <a:pt x="0" y="2160"/>
                    <a:pt x="0" y="2160"/>
                    <a:pt x="0" y="2160"/>
                  </a:cubicBezTo>
                  <a:cubicBezTo>
                    <a:pt x="1392" y="2160"/>
                    <a:pt x="1392" y="2160"/>
                    <a:pt x="1392" y="2160"/>
                  </a:cubicBezTo>
                  <a:cubicBezTo>
                    <a:pt x="1073" y="1665"/>
                    <a:pt x="626" y="97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E407F1F-31DA-4B5D-8FB5-27285117B3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16475" y="-3676650"/>
              <a:ext cx="3924300" cy="4181475"/>
            </a:xfrm>
            <a:custGeom>
              <a:avLst/>
              <a:gdLst>
                <a:gd name="T0" fmla="*/ 2030 w 2030"/>
                <a:gd name="T1" fmla="*/ 823 h 2160"/>
                <a:gd name="T2" fmla="*/ 2030 w 2030"/>
                <a:gd name="T3" fmla="*/ 0 h 2160"/>
                <a:gd name="T4" fmla="*/ 278 w 2030"/>
                <a:gd name="T5" fmla="*/ 0 h 2160"/>
                <a:gd name="T6" fmla="*/ 0 w 2030"/>
                <a:gd name="T7" fmla="*/ 432 h 2160"/>
                <a:gd name="T8" fmla="*/ 1114 w 2030"/>
                <a:gd name="T9" fmla="*/ 2160 h 2160"/>
                <a:gd name="T10" fmla="*/ 1175 w 2030"/>
                <a:gd name="T11" fmla="*/ 2160 h 2160"/>
                <a:gd name="T12" fmla="*/ 2030 w 2030"/>
                <a:gd name="T13" fmla="*/ 823 h 2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30" h="2160">
                  <a:moveTo>
                    <a:pt x="2030" y="823"/>
                  </a:moveTo>
                  <a:cubicBezTo>
                    <a:pt x="2030" y="0"/>
                    <a:pt x="2030" y="0"/>
                    <a:pt x="2030" y="0"/>
                  </a:cubicBezTo>
                  <a:cubicBezTo>
                    <a:pt x="278" y="0"/>
                    <a:pt x="278" y="0"/>
                    <a:pt x="278" y="0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1114" y="2160"/>
                    <a:pt x="1114" y="2160"/>
                    <a:pt x="1114" y="2160"/>
                  </a:cubicBezTo>
                  <a:cubicBezTo>
                    <a:pt x="1175" y="2160"/>
                    <a:pt x="1175" y="2160"/>
                    <a:pt x="1175" y="2160"/>
                  </a:cubicBezTo>
                  <a:cubicBezTo>
                    <a:pt x="1486" y="1673"/>
                    <a:pt x="1770" y="1229"/>
                    <a:pt x="2030" y="8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CD65A588-5791-4A53-A72D-891A92C23A4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9600" y="2995383"/>
            <a:ext cx="10972800" cy="1661993"/>
          </a:xfrm>
        </p:spPr>
        <p:txBody>
          <a:bodyPr vert="horz" anchor="t" anchorCtr="0">
            <a:noAutofit/>
          </a:bodyPr>
          <a:lstStyle>
            <a:lvl1pPr>
              <a:defRPr sz="6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4B76D1A-4C5C-4FA6-B700-B55878D231C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9600" y="5451467"/>
            <a:ext cx="10972800" cy="215444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8C71D8-6B3E-436A-AD73-8EF3629D0B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2278431"/>
            <a:ext cx="10972800" cy="3683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ent Nam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2342B5F-17F5-4D29-B38E-B38AD245E8B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00" y="420948"/>
            <a:ext cx="1328075" cy="40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531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_cob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2E3A5F5-AB1A-48C2-B44A-ADEB507EE0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8249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2E3A5F5-AB1A-48C2-B44A-ADEB507EE0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4290F22-0D8E-4A50-A34D-578FD9F74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937D280-ED37-45F3-8D6B-BF68B851C1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668463"/>
            <a:ext cx="10668000" cy="14573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Google Shape;278;p32">
            <a:extLst>
              <a:ext uri="{FF2B5EF4-FFF2-40B4-BE49-F238E27FC236}">
                <a16:creationId xmlns:a16="http://schemas.microsoft.com/office/drawing/2014/main" id="{1AA98257-E75D-44C2-BECB-990EB42722B0}"/>
              </a:ext>
            </a:extLst>
          </p:cNvPr>
          <p:cNvSpPr/>
          <p:nvPr userDrawn="1"/>
        </p:nvSpPr>
        <p:spPr>
          <a:xfrm>
            <a:off x="-1263969" y="224609"/>
            <a:ext cx="987539" cy="457200"/>
          </a:xfrm>
          <a:prstGeom prst="rect">
            <a:avLst/>
          </a:prstGeom>
          <a:solidFill>
            <a:srgbClr val="230F2C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nl-NL" sz="800">
                <a:solidFill>
                  <a:schemeClr val="bg1"/>
                </a:solidFill>
              </a:rPr>
              <a:t>HEX  #230F2C</a:t>
            </a:r>
          </a:p>
          <a:p>
            <a:pPr lvl="0"/>
            <a:r>
              <a:rPr lang="nl-NL" sz="800">
                <a:solidFill>
                  <a:schemeClr val="bg1"/>
                </a:solidFill>
              </a:rPr>
              <a:t>RGB  35 15 44</a:t>
            </a:r>
          </a:p>
        </p:txBody>
      </p:sp>
      <p:sp>
        <p:nvSpPr>
          <p:cNvPr id="7" name="Google Shape;272;p32">
            <a:extLst>
              <a:ext uri="{FF2B5EF4-FFF2-40B4-BE49-F238E27FC236}">
                <a16:creationId xmlns:a16="http://schemas.microsoft.com/office/drawing/2014/main" id="{22A1C06F-08BD-4975-BE8F-090FA41CAD7C}"/>
              </a:ext>
            </a:extLst>
          </p:cNvPr>
          <p:cNvSpPr/>
          <p:nvPr userDrawn="1"/>
        </p:nvSpPr>
        <p:spPr>
          <a:xfrm>
            <a:off x="-3446527" y="224711"/>
            <a:ext cx="987539" cy="457200"/>
          </a:xfrm>
          <a:prstGeom prst="rect">
            <a:avLst/>
          </a:prstGeom>
          <a:solidFill>
            <a:srgbClr val="5B4AFF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5B4AFF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91 74 255</a:t>
            </a:r>
          </a:p>
        </p:txBody>
      </p:sp>
      <p:sp>
        <p:nvSpPr>
          <p:cNvPr id="8" name="Google Shape;282;p32">
            <a:extLst>
              <a:ext uri="{FF2B5EF4-FFF2-40B4-BE49-F238E27FC236}">
                <a16:creationId xmlns:a16="http://schemas.microsoft.com/office/drawing/2014/main" id="{9091C6C9-69B3-4A22-85F5-50057CBE7AC8}"/>
              </a:ext>
            </a:extLst>
          </p:cNvPr>
          <p:cNvSpPr/>
          <p:nvPr userDrawn="1"/>
        </p:nvSpPr>
        <p:spPr>
          <a:xfrm>
            <a:off x="-3446527" y="880133"/>
            <a:ext cx="987539" cy="459647"/>
          </a:xfrm>
          <a:prstGeom prst="rect">
            <a:avLst/>
          </a:prstGeom>
          <a:solidFill>
            <a:srgbClr val="180539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180539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4 5 57</a:t>
            </a:r>
          </a:p>
        </p:txBody>
      </p:sp>
      <p:sp>
        <p:nvSpPr>
          <p:cNvPr id="9" name="Google Shape;283;p32">
            <a:extLst>
              <a:ext uri="{FF2B5EF4-FFF2-40B4-BE49-F238E27FC236}">
                <a16:creationId xmlns:a16="http://schemas.microsoft.com/office/drawing/2014/main" id="{4FECEE18-F939-46CD-8438-25505C6F3100}"/>
              </a:ext>
            </a:extLst>
          </p:cNvPr>
          <p:cNvSpPr/>
          <p:nvPr userDrawn="1"/>
        </p:nvSpPr>
        <p:spPr>
          <a:xfrm>
            <a:off x="-3446527" y="1339882"/>
            <a:ext cx="987539" cy="459647"/>
          </a:xfrm>
          <a:prstGeom prst="rect">
            <a:avLst/>
          </a:prstGeom>
          <a:solidFill>
            <a:srgbClr val="3A2CC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3A2CC0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58 44 192 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10" name="Google Shape;284;p32">
            <a:extLst>
              <a:ext uri="{FF2B5EF4-FFF2-40B4-BE49-F238E27FC236}">
                <a16:creationId xmlns:a16="http://schemas.microsoft.com/office/drawing/2014/main" id="{68142173-0ACE-4AD1-B920-7E0976866497}"/>
              </a:ext>
            </a:extLst>
          </p:cNvPr>
          <p:cNvSpPr/>
          <p:nvPr userDrawn="1"/>
        </p:nvSpPr>
        <p:spPr>
          <a:xfrm>
            <a:off x="-3446527" y="1799631"/>
            <a:ext cx="987539" cy="459647"/>
          </a:xfrm>
          <a:prstGeom prst="rect">
            <a:avLst/>
          </a:prstGeom>
          <a:solidFill>
            <a:srgbClr val="85A7FD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85A7FD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133 167 253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11" name="Google Shape;285;p32">
            <a:extLst>
              <a:ext uri="{FF2B5EF4-FFF2-40B4-BE49-F238E27FC236}">
                <a16:creationId xmlns:a16="http://schemas.microsoft.com/office/drawing/2014/main" id="{EED19147-EACA-4BBF-AD1D-EA48B043F4D7}"/>
              </a:ext>
            </a:extLst>
          </p:cNvPr>
          <p:cNvSpPr/>
          <p:nvPr userDrawn="1"/>
        </p:nvSpPr>
        <p:spPr>
          <a:xfrm>
            <a:off x="-3446527" y="2259380"/>
            <a:ext cx="987539" cy="459647"/>
          </a:xfrm>
          <a:prstGeom prst="rect">
            <a:avLst/>
          </a:prstGeom>
          <a:solidFill>
            <a:srgbClr val="D1E5F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D1E6FA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09 230 250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12" name="Google Shape;273;p32">
            <a:extLst>
              <a:ext uri="{FF2B5EF4-FFF2-40B4-BE49-F238E27FC236}">
                <a16:creationId xmlns:a16="http://schemas.microsoft.com/office/drawing/2014/main" id="{540E0E07-98BD-4D80-B29C-132ABA339D1B}"/>
              </a:ext>
            </a:extLst>
          </p:cNvPr>
          <p:cNvSpPr/>
          <p:nvPr userDrawn="1"/>
        </p:nvSpPr>
        <p:spPr>
          <a:xfrm>
            <a:off x="-2355255" y="224711"/>
            <a:ext cx="987539" cy="457200"/>
          </a:xfrm>
          <a:prstGeom prst="rect">
            <a:avLst/>
          </a:prstGeom>
          <a:solidFill>
            <a:srgbClr val="E2300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pt-BR" sz="800">
                <a:solidFill>
                  <a:schemeClr val="bg1"/>
                </a:solidFill>
              </a:rPr>
              <a:t>HEX  #E23000</a:t>
            </a:r>
          </a:p>
          <a:p>
            <a:pPr lvl="0"/>
            <a:r>
              <a:rPr lang="pt-BR" sz="800">
                <a:solidFill>
                  <a:schemeClr val="bg1"/>
                </a:solidFill>
              </a:rPr>
              <a:t>RGB  226 48 0</a:t>
            </a:r>
          </a:p>
        </p:txBody>
      </p:sp>
      <p:sp>
        <p:nvSpPr>
          <p:cNvPr id="13" name="Google Shape;286;p32">
            <a:extLst>
              <a:ext uri="{FF2B5EF4-FFF2-40B4-BE49-F238E27FC236}">
                <a16:creationId xmlns:a16="http://schemas.microsoft.com/office/drawing/2014/main" id="{B115B0C4-4189-4DB3-B1FC-721AD5445409}"/>
              </a:ext>
            </a:extLst>
          </p:cNvPr>
          <p:cNvSpPr/>
          <p:nvPr userDrawn="1"/>
        </p:nvSpPr>
        <p:spPr>
          <a:xfrm>
            <a:off x="-2355241" y="880133"/>
            <a:ext cx="987539" cy="459647"/>
          </a:xfrm>
          <a:prstGeom prst="rect">
            <a:avLst/>
          </a:prstGeom>
          <a:solidFill>
            <a:srgbClr val="560322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560322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86 3 34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15" name="Google Shape;287;p32">
            <a:extLst>
              <a:ext uri="{FF2B5EF4-FFF2-40B4-BE49-F238E27FC236}">
                <a16:creationId xmlns:a16="http://schemas.microsoft.com/office/drawing/2014/main" id="{282FBDC2-D758-40B0-9DAF-14E0C6862BCA}"/>
              </a:ext>
            </a:extLst>
          </p:cNvPr>
          <p:cNvSpPr/>
          <p:nvPr userDrawn="1"/>
        </p:nvSpPr>
        <p:spPr>
          <a:xfrm>
            <a:off x="-2355241" y="1339882"/>
            <a:ext cx="987539" cy="459647"/>
          </a:xfrm>
          <a:prstGeom prst="rect">
            <a:avLst/>
          </a:prstGeom>
          <a:solidFill>
            <a:srgbClr val="AB081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AB0810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171 8 16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16" name="Google Shape;288;p32">
            <a:extLst>
              <a:ext uri="{FF2B5EF4-FFF2-40B4-BE49-F238E27FC236}">
                <a16:creationId xmlns:a16="http://schemas.microsoft.com/office/drawing/2014/main" id="{C51EBF65-CCEE-4472-8DF0-0F4D2EBD1E41}"/>
              </a:ext>
            </a:extLst>
          </p:cNvPr>
          <p:cNvSpPr/>
          <p:nvPr userDrawn="1"/>
        </p:nvSpPr>
        <p:spPr>
          <a:xfrm>
            <a:off x="-2355241" y="1799631"/>
            <a:ext cx="987539" cy="459647"/>
          </a:xfrm>
          <a:prstGeom prst="rect">
            <a:avLst/>
          </a:prstGeom>
          <a:solidFill>
            <a:srgbClr val="F97C5D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f97C5D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49 124 93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17" name="Google Shape;289;p32">
            <a:extLst>
              <a:ext uri="{FF2B5EF4-FFF2-40B4-BE49-F238E27FC236}">
                <a16:creationId xmlns:a16="http://schemas.microsoft.com/office/drawing/2014/main" id="{D904052B-7AE7-4B50-B225-0364576343EF}"/>
              </a:ext>
            </a:extLst>
          </p:cNvPr>
          <p:cNvSpPr/>
          <p:nvPr userDrawn="1"/>
        </p:nvSpPr>
        <p:spPr>
          <a:xfrm>
            <a:off x="-2355241" y="2259380"/>
            <a:ext cx="987539" cy="459647"/>
          </a:xfrm>
          <a:prstGeom prst="rect">
            <a:avLst/>
          </a:prstGeom>
          <a:solidFill>
            <a:srgbClr val="FCC7BC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FCC7BC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52 199 188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22" name="Google Shape;272;p32">
            <a:extLst>
              <a:ext uri="{FF2B5EF4-FFF2-40B4-BE49-F238E27FC236}">
                <a16:creationId xmlns:a16="http://schemas.microsoft.com/office/drawing/2014/main" id="{A1C99E0E-0798-4386-97AC-3A31215EE5DD}"/>
              </a:ext>
            </a:extLst>
          </p:cNvPr>
          <p:cNvSpPr/>
          <p:nvPr userDrawn="1"/>
        </p:nvSpPr>
        <p:spPr>
          <a:xfrm>
            <a:off x="-3446527" y="0"/>
            <a:ext cx="98753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lvl="0"/>
            <a:r>
              <a:rPr lang="en-US" sz="800"/>
              <a:t>Core Brand Colors</a:t>
            </a:r>
          </a:p>
        </p:txBody>
      </p:sp>
      <p:sp>
        <p:nvSpPr>
          <p:cNvPr id="25" name="Google Shape;284;p32">
            <a:extLst>
              <a:ext uri="{FF2B5EF4-FFF2-40B4-BE49-F238E27FC236}">
                <a16:creationId xmlns:a16="http://schemas.microsoft.com/office/drawing/2014/main" id="{5EDEE278-CBF6-46CB-86E2-8560D01172B5}"/>
              </a:ext>
            </a:extLst>
          </p:cNvPr>
          <p:cNvSpPr/>
          <p:nvPr userDrawn="1"/>
        </p:nvSpPr>
        <p:spPr>
          <a:xfrm>
            <a:off x="-3446527" y="4545580"/>
            <a:ext cx="987539" cy="459647"/>
          </a:xfrm>
          <a:prstGeom prst="rect">
            <a:avLst/>
          </a:prstGeom>
          <a:solidFill>
            <a:srgbClr val="1DB55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1DB55A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9 181 90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30" name="Google Shape;289;p32">
            <a:extLst>
              <a:ext uri="{FF2B5EF4-FFF2-40B4-BE49-F238E27FC236}">
                <a16:creationId xmlns:a16="http://schemas.microsoft.com/office/drawing/2014/main" id="{51192227-FA69-4F31-9EB3-B6468B8CB0D5}"/>
              </a:ext>
            </a:extLst>
          </p:cNvPr>
          <p:cNvSpPr/>
          <p:nvPr userDrawn="1"/>
        </p:nvSpPr>
        <p:spPr>
          <a:xfrm>
            <a:off x="-3446527" y="4020003"/>
            <a:ext cx="987539" cy="459647"/>
          </a:xfrm>
          <a:prstGeom prst="rect">
            <a:avLst/>
          </a:prstGeom>
          <a:solidFill>
            <a:srgbClr val="F4C12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F4C12A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44 193 42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31" name="Google Shape;272;p32">
            <a:extLst>
              <a:ext uri="{FF2B5EF4-FFF2-40B4-BE49-F238E27FC236}">
                <a16:creationId xmlns:a16="http://schemas.microsoft.com/office/drawing/2014/main" id="{937D96A6-E2B4-4A54-9846-207AEA505ED6}"/>
              </a:ext>
            </a:extLst>
          </p:cNvPr>
          <p:cNvSpPr/>
          <p:nvPr userDrawn="1"/>
        </p:nvSpPr>
        <p:spPr>
          <a:xfrm>
            <a:off x="-3446527" y="3272163"/>
            <a:ext cx="98753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lvl="0"/>
            <a:r>
              <a:rPr lang="en-US" sz="800"/>
              <a:t>Stoplight Accents</a:t>
            </a:r>
          </a:p>
        </p:txBody>
      </p:sp>
      <p:sp>
        <p:nvSpPr>
          <p:cNvPr id="38" name="Google Shape;273;p32">
            <a:extLst>
              <a:ext uri="{FF2B5EF4-FFF2-40B4-BE49-F238E27FC236}">
                <a16:creationId xmlns:a16="http://schemas.microsoft.com/office/drawing/2014/main" id="{000A83E1-898D-443A-AE22-CCDAD8EE2BC8}"/>
              </a:ext>
            </a:extLst>
          </p:cNvPr>
          <p:cNvSpPr/>
          <p:nvPr userDrawn="1"/>
        </p:nvSpPr>
        <p:spPr>
          <a:xfrm>
            <a:off x="-3446527" y="3496874"/>
            <a:ext cx="987539" cy="457200"/>
          </a:xfrm>
          <a:prstGeom prst="rect">
            <a:avLst/>
          </a:prstGeom>
          <a:solidFill>
            <a:srgbClr val="E2300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pt-BR" sz="800">
                <a:solidFill>
                  <a:schemeClr val="bg1"/>
                </a:solidFill>
              </a:rPr>
              <a:t>HEX  #E23000</a:t>
            </a:r>
          </a:p>
          <a:p>
            <a:pPr lvl="0"/>
            <a:r>
              <a:rPr lang="pt-BR" sz="800">
                <a:solidFill>
                  <a:schemeClr val="bg1"/>
                </a:solidFill>
              </a:rPr>
              <a:t>RGB  226 48 0</a:t>
            </a:r>
          </a:p>
        </p:txBody>
      </p:sp>
    </p:spTree>
    <p:extLst>
      <p:ext uri="{BB962C8B-B14F-4D97-AF65-F5344CB8AC3E}">
        <p14:creationId xmlns:p14="http://schemas.microsoft.com/office/powerpoint/2010/main" val="3493983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MiniHeader_cob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CC24F5-10E6-4827-AADB-454499D9F9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412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BCC24F5-10E6-4827-AADB-454499D9F9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4FA97B5-2590-4880-BF2E-D450D6AD2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83802"/>
            <a:ext cx="10668000" cy="387798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2B52848-A8DD-4977-8B47-77A49A2FF6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668463"/>
            <a:ext cx="10668000" cy="14573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045A484-9AD2-41A4-86EF-6AE50C2D8F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944541" y="1713691"/>
            <a:ext cx="2500599" cy="214313"/>
          </a:xfrm>
        </p:spPr>
        <p:txBody>
          <a:bodyPr wrap="none">
            <a:noAutofit/>
          </a:bodyPr>
          <a:lstStyle>
            <a:lvl1pPr algn="r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Mini Header</a:t>
            </a:r>
          </a:p>
        </p:txBody>
      </p:sp>
      <p:sp>
        <p:nvSpPr>
          <p:cNvPr id="35" name="Google Shape;278;p32">
            <a:extLst>
              <a:ext uri="{FF2B5EF4-FFF2-40B4-BE49-F238E27FC236}">
                <a16:creationId xmlns:a16="http://schemas.microsoft.com/office/drawing/2014/main" id="{94EA2314-021C-457B-B1EE-71F355DA9755}"/>
              </a:ext>
            </a:extLst>
          </p:cNvPr>
          <p:cNvSpPr/>
          <p:nvPr userDrawn="1"/>
        </p:nvSpPr>
        <p:spPr>
          <a:xfrm>
            <a:off x="-1263969" y="224609"/>
            <a:ext cx="987539" cy="457200"/>
          </a:xfrm>
          <a:prstGeom prst="rect">
            <a:avLst/>
          </a:prstGeom>
          <a:solidFill>
            <a:srgbClr val="230F2C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nl-NL" sz="800">
                <a:solidFill>
                  <a:schemeClr val="bg1"/>
                </a:solidFill>
              </a:rPr>
              <a:t>HEX  #230F2C</a:t>
            </a:r>
          </a:p>
          <a:p>
            <a:pPr lvl="0"/>
            <a:r>
              <a:rPr lang="nl-NL" sz="800">
                <a:solidFill>
                  <a:schemeClr val="bg1"/>
                </a:solidFill>
              </a:rPr>
              <a:t>RGB  35 15 44</a:t>
            </a:r>
          </a:p>
        </p:txBody>
      </p:sp>
      <p:sp>
        <p:nvSpPr>
          <p:cNvPr id="36" name="Google Shape;272;p32">
            <a:extLst>
              <a:ext uri="{FF2B5EF4-FFF2-40B4-BE49-F238E27FC236}">
                <a16:creationId xmlns:a16="http://schemas.microsoft.com/office/drawing/2014/main" id="{4BB89B2C-98A7-4AAA-A084-5A72DAC4AA71}"/>
              </a:ext>
            </a:extLst>
          </p:cNvPr>
          <p:cNvSpPr/>
          <p:nvPr userDrawn="1"/>
        </p:nvSpPr>
        <p:spPr>
          <a:xfrm>
            <a:off x="-3446527" y="224711"/>
            <a:ext cx="987539" cy="457200"/>
          </a:xfrm>
          <a:prstGeom prst="rect">
            <a:avLst/>
          </a:prstGeom>
          <a:solidFill>
            <a:srgbClr val="5B4AFF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5B4AFF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91 74 255</a:t>
            </a:r>
          </a:p>
        </p:txBody>
      </p:sp>
      <p:sp>
        <p:nvSpPr>
          <p:cNvPr id="37" name="Google Shape;282;p32">
            <a:extLst>
              <a:ext uri="{FF2B5EF4-FFF2-40B4-BE49-F238E27FC236}">
                <a16:creationId xmlns:a16="http://schemas.microsoft.com/office/drawing/2014/main" id="{F9D71412-7637-403F-B9B4-D5BE2603F11A}"/>
              </a:ext>
            </a:extLst>
          </p:cNvPr>
          <p:cNvSpPr/>
          <p:nvPr userDrawn="1"/>
        </p:nvSpPr>
        <p:spPr>
          <a:xfrm>
            <a:off x="-3446527" y="880133"/>
            <a:ext cx="987539" cy="459647"/>
          </a:xfrm>
          <a:prstGeom prst="rect">
            <a:avLst/>
          </a:prstGeom>
          <a:solidFill>
            <a:srgbClr val="180539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180539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4 5 57</a:t>
            </a:r>
          </a:p>
        </p:txBody>
      </p:sp>
      <p:sp>
        <p:nvSpPr>
          <p:cNvPr id="38" name="Google Shape;283;p32">
            <a:extLst>
              <a:ext uri="{FF2B5EF4-FFF2-40B4-BE49-F238E27FC236}">
                <a16:creationId xmlns:a16="http://schemas.microsoft.com/office/drawing/2014/main" id="{0E789612-B3E7-4CD0-B189-BBB8A457892B}"/>
              </a:ext>
            </a:extLst>
          </p:cNvPr>
          <p:cNvSpPr/>
          <p:nvPr userDrawn="1"/>
        </p:nvSpPr>
        <p:spPr>
          <a:xfrm>
            <a:off x="-3446527" y="1339882"/>
            <a:ext cx="987539" cy="459647"/>
          </a:xfrm>
          <a:prstGeom prst="rect">
            <a:avLst/>
          </a:prstGeom>
          <a:solidFill>
            <a:srgbClr val="3A2CC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3A2CC0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58 44 192 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39" name="Google Shape;284;p32">
            <a:extLst>
              <a:ext uri="{FF2B5EF4-FFF2-40B4-BE49-F238E27FC236}">
                <a16:creationId xmlns:a16="http://schemas.microsoft.com/office/drawing/2014/main" id="{667CD216-8830-4D24-A61D-6026D8CAE1E3}"/>
              </a:ext>
            </a:extLst>
          </p:cNvPr>
          <p:cNvSpPr/>
          <p:nvPr userDrawn="1"/>
        </p:nvSpPr>
        <p:spPr>
          <a:xfrm>
            <a:off x="-3446527" y="1799631"/>
            <a:ext cx="987539" cy="459647"/>
          </a:xfrm>
          <a:prstGeom prst="rect">
            <a:avLst/>
          </a:prstGeom>
          <a:solidFill>
            <a:srgbClr val="85A7FD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85A7FD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133 167 253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0" name="Google Shape;285;p32">
            <a:extLst>
              <a:ext uri="{FF2B5EF4-FFF2-40B4-BE49-F238E27FC236}">
                <a16:creationId xmlns:a16="http://schemas.microsoft.com/office/drawing/2014/main" id="{C150A2D5-967D-498A-8546-B324B1F43549}"/>
              </a:ext>
            </a:extLst>
          </p:cNvPr>
          <p:cNvSpPr/>
          <p:nvPr userDrawn="1"/>
        </p:nvSpPr>
        <p:spPr>
          <a:xfrm>
            <a:off x="-3446527" y="2259380"/>
            <a:ext cx="987539" cy="459647"/>
          </a:xfrm>
          <a:prstGeom prst="rect">
            <a:avLst/>
          </a:prstGeom>
          <a:solidFill>
            <a:srgbClr val="D1E5F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D1E6FA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09 230 250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41" name="Google Shape;273;p32">
            <a:extLst>
              <a:ext uri="{FF2B5EF4-FFF2-40B4-BE49-F238E27FC236}">
                <a16:creationId xmlns:a16="http://schemas.microsoft.com/office/drawing/2014/main" id="{F9A829CF-8CF6-49B7-B429-728827CADC49}"/>
              </a:ext>
            </a:extLst>
          </p:cNvPr>
          <p:cNvSpPr/>
          <p:nvPr userDrawn="1"/>
        </p:nvSpPr>
        <p:spPr>
          <a:xfrm>
            <a:off x="-2355255" y="224711"/>
            <a:ext cx="987539" cy="457200"/>
          </a:xfrm>
          <a:prstGeom prst="rect">
            <a:avLst/>
          </a:prstGeom>
          <a:solidFill>
            <a:srgbClr val="E2300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pt-BR" sz="800">
                <a:solidFill>
                  <a:schemeClr val="bg1"/>
                </a:solidFill>
              </a:rPr>
              <a:t>HEX  #E23000</a:t>
            </a:r>
          </a:p>
          <a:p>
            <a:pPr lvl="0"/>
            <a:r>
              <a:rPr lang="pt-BR" sz="800">
                <a:solidFill>
                  <a:schemeClr val="bg1"/>
                </a:solidFill>
              </a:rPr>
              <a:t>RGB  226 48 0</a:t>
            </a:r>
          </a:p>
        </p:txBody>
      </p:sp>
      <p:sp>
        <p:nvSpPr>
          <p:cNvPr id="42" name="Google Shape;286;p32">
            <a:extLst>
              <a:ext uri="{FF2B5EF4-FFF2-40B4-BE49-F238E27FC236}">
                <a16:creationId xmlns:a16="http://schemas.microsoft.com/office/drawing/2014/main" id="{DDAA8025-C2AD-4259-A56E-F5BA17CC93DF}"/>
              </a:ext>
            </a:extLst>
          </p:cNvPr>
          <p:cNvSpPr/>
          <p:nvPr userDrawn="1"/>
        </p:nvSpPr>
        <p:spPr>
          <a:xfrm>
            <a:off x="-2355241" y="880133"/>
            <a:ext cx="987539" cy="459647"/>
          </a:xfrm>
          <a:prstGeom prst="rect">
            <a:avLst/>
          </a:prstGeom>
          <a:solidFill>
            <a:srgbClr val="560322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560322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86 3 34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3" name="Google Shape;287;p32">
            <a:extLst>
              <a:ext uri="{FF2B5EF4-FFF2-40B4-BE49-F238E27FC236}">
                <a16:creationId xmlns:a16="http://schemas.microsoft.com/office/drawing/2014/main" id="{035F3E82-193F-4945-9B85-63EFF78E7C84}"/>
              </a:ext>
            </a:extLst>
          </p:cNvPr>
          <p:cNvSpPr/>
          <p:nvPr userDrawn="1"/>
        </p:nvSpPr>
        <p:spPr>
          <a:xfrm>
            <a:off x="-2355241" y="1339882"/>
            <a:ext cx="987539" cy="459647"/>
          </a:xfrm>
          <a:prstGeom prst="rect">
            <a:avLst/>
          </a:prstGeom>
          <a:solidFill>
            <a:srgbClr val="AB081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AB0810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171 8 16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4" name="Google Shape;288;p32">
            <a:extLst>
              <a:ext uri="{FF2B5EF4-FFF2-40B4-BE49-F238E27FC236}">
                <a16:creationId xmlns:a16="http://schemas.microsoft.com/office/drawing/2014/main" id="{050788D8-917E-41E4-96C9-08303835E7BE}"/>
              </a:ext>
            </a:extLst>
          </p:cNvPr>
          <p:cNvSpPr/>
          <p:nvPr userDrawn="1"/>
        </p:nvSpPr>
        <p:spPr>
          <a:xfrm>
            <a:off x="-2355241" y="1799631"/>
            <a:ext cx="987539" cy="459647"/>
          </a:xfrm>
          <a:prstGeom prst="rect">
            <a:avLst/>
          </a:prstGeom>
          <a:solidFill>
            <a:srgbClr val="F97C5D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f97C5D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49 124 93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5" name="Google Shape;289;p32">
            <a:extLst>
              <a:ext uri="{FF2B5EF4-FFF2-40B4-BE49-F238E27FC236}">
                <a16:creationId xmlns:a16="http://schemas.microsoft.com/office/drawing/2014/main" id="{D8AF3135-367B-4AE3-9ECD-A9FF1D559C70}"/>
              </a:ext>
            </a:extLst>
          </p:cNvPr>
          <p:cNvSpPr/>
          <p:nvPr userDrawn="1"/>
        </p:nvSpPr>
        <p:spPr>
          <a:xfrm>
            <a:off x="-2355241" y="2259380"/>
            <a:ext cx="987539" cy="459647"/>
          </a:xfrm>
          <a:prstGeom prst="rect">
            <a:avLst/>
          </a:prstGeom>
          <a:solidFill>
            <a:srgbClr val="FCC7BC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FCC7BC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52 199 188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46" name="Google Shape;272;p32">
            <a:extLst>
              <a:ext uri="{FF2B5EF4-FFF2-40B4-BE49-F238E27FC236}">
                <a16:creationId xmlns:a16="http://schemas.microsoft.com/office/drawing/2014/main" id="{95C4EC2B-C41F-46CF-8B8F-9E87C8E6DB20}"/>
              </a:ext>
            </a:extLst>
          </p:cNvPr>
          <p:cNvSpPr/>
          <p:nvPr userDrawn="1"/>
        </p:nvSpPr>
        <p:spPr>
          <a:xfrm>
            <a:off x="-3446527" y="0"/>
            <a:ext cx="98753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lvl="0"/>
            <a:r>
              <a:rPr lang="en-US" sz="800"/>
              <a:t>Core Brand Colors</a:t>
            </a:r>
          </a:p>
        </p:txBody>
      </p:sp>
      <p:sp>
        <p:nvSpPr>
          <p:cNvPr id="47" name="Google Shape;284;p32">
            <a:extLst>
              <a:ext uri="{FF2B5EF4-FFF2-40B4-BE49-F238E27FC236}">
                <a16:creationId xmlns:a16="http://schemas.microsoft.com/office/drawing/2014/main" id="{20038C3E-64E2-4259-9BA5-F36AA554A2D6}"/>
              </a:ext>
            </a:extLst>
          </p:cNvPr>
          <p:cNvSpPr/>
          <p:nvPr userDrawn="1"/>
        </p:nvSpPr>
        <p:spPr>
          <a:xfrm>
            <a:off x="-3446527" y="4545580"/>
            <a:ext cx="987539" cy="459647"/>
          </a:xfrm>
          <a:prstGeom prst="rect">
            <a:avLst/>
          </a:prstGeom>
          <a:solidFill>
            <a:srgbClr val="1DB55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1DB55A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9 181 90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8" name="Google Shape;289;p32">
            <a:extLst>
              <a:ext uri="{FF2B5EF4-FFF2-40B4-BE49-F238E27FC236}">
                <a16:creationId xmlns:a16="http://schemas.microsoft.com/office/drawing/2014/main" id="{206FD648-9A5A-4741-9900-A8F28DA54131}"/>
              </a:ext>
            </a:extLst>
          </p:cNvPr>
          <p:cNvSpPr/>
          <p:nvPr userDrawn="1"/>
        </p:nvSpPr>
        <p:spPr>
          <a:xfrm>
            <a:off x="-3446527" y="4020003"/>
            <a:ext cx="987539" cy="459647"/>
          </a:xfrm>
          <a:prstGeom prst="rect">
            <a:avLst/>
          </a:prstGeom>
          <a:solidFill>
            <a:srgbClr val="F4C12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F4C12A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44 193 42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49" name="Google Shape;272;p32">
            <a:extLst>
              <a:ext uri="{FF2B5EF4-FFF2-40B4-BE49-F238E27FC236}">
                <a16:creationId xmlns:a16="http://schemas.microsoft.com/office/drawing/2014/main" id="{CD3B0992-EFAB-44C8-8BEC-73B7B616BF33}"/>
              </a:ext>
            </a:extLst>
          </p:cNvPr>
          <p:cNvSpPr/>
          <p:nvPr userDrawn="1"/>
        </p:nvSpPr>
        <p:spPr>
          <a:xfrm>
            <a:off x="-3446527" y="3272163"/>
            <a:ext cx="98753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lvl="0"/>
            <a:r>
              <a:rPr lang="en-US" sz="800"/>
              <a:t>Stoplight Accents</a:t>
            </a:r>
          </a:p>
        </p:txBody>
      </p:sp>
      <p:sp>
        <p:nvSpPr>
          <p:cNvPr id="50" name="Google Shape;273;p32">
            <a:extLst>
              <a:ext uri="{FF2B5EF4-FFF2-40B4-BE49-F238E27FC236}">
                <a16:creationId xmlns:a16="http://schemas.microsoft.com/office/drawing/2014/main" id="{3F840FB2-3C93-448A-9C18-EEB05C868603}"/>
              </a:ext>
            </a:extLst>
          </p:cNvPr>
          <p:cNvSpPr/>
          <p:nvPr userDrawn="1"/>
        </p:nvSpPr>
        <p:spPr>
          <a:xfrm>
            <a:off x="-3446527" y="3496874"/>
            <a:ext cx="987539" cy="457200"/>
          </a:xfrm>
          <a:prstGeom prst="rect">
            <a:avLst/>
          </a:prstGeom>
          <a:solidFill>
            <a:srgbClr val="E2300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pt-BR" sz="800">
                <a:solidFill>
                  <a:schemeClr val="bg1"/>
                </a:solidFill>
              </a:rPr>
              <a:t>HEX  #E23000</a:t>
            </a:r>
          </a:p>
          <a:p>
            <a:pPr lvl="0"/>
            <a:r>
              <a:rPr lang="pt-BR" sz="800">
                <a:solidFill>
                  <a:schemeClr val="bg1"/>
                </a:solidFill>
              </a:rPr>
              <a:t>RGB  226 48 0</a:t>
            </a:r>
          </a:p>
        </p:txBody>
      </p:sp>
    </p:spTree>
    <p:extLst>
      <p:ext uri="{BB962C8B-B14F-4D97-AF65-F5344CB8AC3E}">
        <p14:creationId xmlns:p14="http://schemas.microsoft.com/office/powerpoint/2010/main" val="352644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b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87FD6E-429A-490F-91AF-DA8B43071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770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87FD6E-429A-490F-91AF-DA8B43071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2692BE-9396-40A5-8A86-8E7ECAF37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2" name="Google Shape;278;p32">
            <a:extLst>
              <a:ext uri="{FF2B5EF4-FFF2-40B4-BE49-F238E27FC236}">
                <a16:creationId xmlns:a16="http://schemas.microsoft.com/office/drawing/2014/main" id="{B9129EE1-82C1-4661-92E7-E98552907B2D}"/>
              </a:ext>
            </a:extLst>
          </p:cNvPr>
          <p:cNvSpPr/>
          <p:nvPr userDrawn="1"/>
        </p:nvSpPr>
        <p:spPr>
          <a:xfrm>
            <a:off x="-1263969" y="224609"/>
            <a:ext cx="987539" cy="457200"/>
          </a:xfrm>
          <a:prstGeom prst="rect">
            <a:avLst/>
          </a:prstGeom>
          <a:solidFill>
            <a:srgbClr val="230F2C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nl-NL" sz="800">
                <a:solidFill>
                  <a:schemeClr val="bg1"/>
                </a:solidFill>
              </a:rPr>
              <a:t>HEX  #230F2C</a:t>
            </a:r>
          </a:p>
          <a:p>
            <a:pPr lvl="0"/>
            <a:r>
              <a:rPr lang="nl-NL" sz="800">
                <a:solidFill>
                  <a:schemeClr val="bg1"/>
                </a:solidFill>
              </a:rPr>
              <a:t>RGB  35 15 44</a:t>
            </a:r>
          </a:p>
        </p:txBody>
      </p:sp>
      <p:sp>
        <p:nvSpPr>
          <p:cNvPr id="33" name="Google Shape;272;p32">
            <a:extLst>
              <a:ext uri="{FF2B5EF4-FFF2-40B4-BE49-F238E27FC236}">
                <a16:creationId xmlns:a16="http://schemas.microsoft.com/office/drawing/2014/main" id="{257C959D-9635-4932-B1CE-842D4FDAF0C3}"/>
              </a:ext>
            </a:extLst>
          </p:cNvPr>
          <p:cNvSpPr/>
          <p:nvPr userDrawn="1"/>
        </p:nvSpPr>
        <p:spPr>
          <a:xfrm>
            <a:off x="-3446527" y="224711"/>
            <a:ext cx="987539" cy="457200"/>
          </a:xfrm>
          <a:prstGeom prst="rect">
            <a:avLst/>
          </a:prstGeom>
          <a:solidFill>
            <a:srgbClr val="5B4AFF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5B4AFF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91 74 255</a:t>
            </a:r>
          </a:p>
        </p:txBody>
      </p:sp>
      <p:sp>
        <p:nvSpPr>
          <p:cNvPr id="34" name="Google Shape;282;p32">
            <a:extLst>
              <a:ext uri="{FF2B5EF4-FFF2-40B4-BE49-F238E27FC236}">
                <a16:creationId xmlns:a16="http://schemas.microsoft.com/office/drawing/2014/main" id="{65A2B10C-47A7-4537-8CE6-1161DD720A8E}"/>
              </a:ext>
            </a:extLst>
          </p:cNvPr>
          <p:cNvSpPr/>
          <p:nvPr userDrawn="1"/>
        </p:nvSpPr>
        <p:spPr>
          <a:xfrm>
            <a:off x="-3446527" y="880133"/>
            <a:ext cx="987539" cy="459647"/>
          </a:xfrm>
          <a:prstGeom prst="rect">
            <a:avLst/>
          </a:prstGeom>
          <a:solidFill>
            <a:srgbClr val="180539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180539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4 5 57</a:t>
            </a:r>
          </a:p>
        </p:txBody>
      </p:sp>
      <p:sp>
        <p:nvSpPr>
          <p:cNvPr id="35" name="Google Shape;283;p32">
            <a:extLst>
              <a:ext uri="{FF2B5EF4-FFF2-40B4-BE49-F238E27FC236}">
                <a16:creationId xmlns:a16="http://schemas.microsoft.com/office/drawing/2014/main" id="{C15406C2-F2BC-4296-950D-B2952C469C06}"/>
              </a:ext>
            </a:extLst>
          </p:cNvPr>
          <p:cNvSpPr/>
          <p:nvPr userDrawn="1"/>
        </p:nvSpPr>
        <p:spPr>
          <a:xfrm>
            <a:off x="-3446527" y="1339882"/>
            <a:ext cx="987539" cy="459647"/>
          </a:xfrm>
          <a:prstGeom prst="rect">
            <a:avLst/>
          </a:prstGeom>
          <a:solidFill>
            <a:srgbClr val="3A2CC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3A2CC0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58 44 192 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36" name="Google Shape;284;p32">
            <a:extLst>
              <a:ext uri="{FF2B5EF4-FFF2-40B4-BE49-F238E27FC236}">
                <a16:creationId xmlns:a16="http://schemas.microsoft.com/office/drawing/2014/main" id="{8FB6F7C4-FEBD-492D-BA1F-78D4B242637E}"/>
              </a:ext>
            </a:extLst>
          </p:cNvPr>
          <p:cNvSpPr/>
          <p:nvPr userDrawn="1"/>
        </p:nvSpPr>
        <p:spPr>
          <a:xfrm>
            <a:off x="-3446527" y="1799631"/>
            <a:ext cx="987539" cy="459647"/>
          </a:xfrm>
          <a:prstGeom prst="rect">
            <a:avLst/>
          </a:prstGeom>
          <a:solidFill>
            <a:srgbClr val="85A7FD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85A7FD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133 167 253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37" name="Google Shape;285;p32">
            <a:extLst>
              <a:ext uri="{FF2B5EF4-FFF2-40B4-BE49-F238E27FC236}">
                <a16:creationId xmlns:a16="http://schemas.microsoft.com/office/drawing/2014/main" id="{7F4BB1AF-0BEE-421B-B0A6-6CD4D3413A47}"/>
              </a:ext>
            </a:extLst>
          </p:cNvPr>
          <p:cNvSpPr/>
          <p:nvPr userDrawn="1"/>
        </p:nvSpPr>
        <p:spPr>
          <a:xfrm>
            <a:off x="-3446527" y="2259380"/>
            <a:ext cx="987539" cy="459647"/>
          </a:xfrm>
          <a:prstGeom prst="rect">
            <a:avLst/>
          </a:prstGeom>
          <a:solidFill>
            <a:srgbClr val="D1E5F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D1E6FA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09 230 250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38" name="Google Shape;273;p32">
            <a:extLst>
              <a:ext uri="{FF2B5EF4-FFF2-40B4-BE49-F238E27FC236}">
                <a16:creationId xmlns:a16="http://schemas.microsoft.com/office/drawing/2014/main" id="{99C6ECCF-39E3-428E-A972-E4823352A463}"/>
              </a:ext>
            </a:extLst>
          </p:cNvPr>
          <p:cNvSpPr/>
          <p:nvPr userDrawn="1"/>
        </p:nvSpPr>
        <p:spPr>
          <a:xfrm>
            <a:off x="-2355255" y="224711"/>
            <a:ext cx="987539" cy="457200"/>
          </a:xfrm>
          <a:prstGeom prst="rect">
            <a:avLst/>
          </a:prstGeom>
          <a:solidFill>
            <a:srgbClr val="E2300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pt-BR" sz="800">
                <a:solidFill>
                  <a:schemeClr val="bg1"/>
                </a:solidFill>
              </a:rPr>
              <a:t>HEX  #E23000</a:t>
            </a:r>
          </a:p>
          <a:p>
            <a:pPr lvl="0"/>
            <a:r>
              <a:rPr lang="pt-BR" sz="800">
                <a:solidFill>
                  <a:schemeClr val="bg1"/>
                </a:solidFill>
              </a:rPr>
              <a:t>RGB  226 48 0</a:t>
            </a:r>
          </a:p>
        </p:txBody>
      </p:sp>
      <p:sp>
        <p:nvSpPr>
          <p:cNvPr id="39" name="Google Shape;286;p32">
            <a:extLst>
              <a:ext uri="{FF2B5EF4-FFF2-40B4-BE49-F238E27FC236}">
                <a16:creationId xmlns:a16="http://schemas.microsoft.com/office/drawing/2014/main" id="{481C6A91-28EB-4E11-A241-DACC4C5DB3EA}"/>
              </a:ext>
            </a:extLst>
          </p:cNvPr>
          <p:cNvSpPr/>
          <p:nvPr userDrawn="1"/>
        </p:nvSpPr>
        <p:spPr>
          <a:xfrm>
            <a:off x="-2355241" y="880133"/>
            <a:ext cx="987539" cy="459647"/>
          </a:xfrm>
          <a:prstGeom prst="rect">
            <a:avLst/>
          </a:prstGeom>
          <a:solidFill>
            <a:srgbClr val="560322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560322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86 3 34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0" name="Google Shape;287;p32">
            <a:extLst>
              <a:ext uri="{FF2B5EF4-FFF2-40B4-BE49-F238E27FC236}">
                <a16:creationId xmlns:a16="http://schemas.microsoft.com/office/drawing/2014/main" id="{12D40571-13D9-454E-A076-4B90FFA161AB}"/>
              </a:ext>
            </a:extLst>
          </p:cNvPr>
          <p:cNvSpPr/>
          <p:nvPr userDrawn="1"/>
        </p:nvSpPr>
        <p:spPr>
          <a:xfrm>
            <a:off x="-2355241" y="1339882"/>
            <a:ext cx="987539" cy="459647"/>
          </a:xfrm>
          <a:prstGeom prst="rect">
            <a:avLst/>
          </a:prstGeom>
          <a:solidFill>
            <a:srgbClr val="AB081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AB0810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171 8 16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1" name="Google Shape;288;p32">
            <a:extLst>
              <a:ext uri="{FF2B5EF4-FFF2-40B4-BE49-F238E27FC236}">
                <a16:creationId xmlns:a16="http://schemas.microsoft.com/office/drawing/2014/main" id="{F4DA7590-FA7E-43E3-A491-A87D20CF72E1}"/>
              </a:ext>
            </a:extLst>
          </p:cNvPr>
          <p:cNvSpPr/>
          <p:nvPr userDrawn="1"/>
        </p:nvSpPr>
        <p:spPr>
          <a:xfrm>
            <a:off x="-2355241" y="1799631"/>
            <a:ext cx="987539" cy="459647"/>
          </a:xfrm>
          <a:prstGeom prst="rect">
            <a:avLst/>
          </a:prstGeom>
          <a:solidFill>
            <a:srgbClr val="F97C5D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f97C5D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49 124 93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2" name="Google Shape;289;p32">
            <a:extLst>
              <a:ext uri="{FF2B5EF4-FFF2-40B4-BE49-F238E27FC236}">
                <a16:creationId xmlns:a16="http://schemas.microsoft.com/office/drawing/2014/main" id="{82D8EDF4-D481-4CD6-A7AD-26C8B766FB08}"/>
              </a:ext>
            </a:extLst>
          </p:cNvPr>
          <p:cNvSpPr/>
          <p:nvPr userDrawn="1"/>
        </p:nvSpPr>
        <p:spPr>
          <a:xfrm>
            <a:off x="-2355241" y="2259380"/>
            <a:ext cx="987539" cy="459647"/>
          </a:xfrm>
          <a:prstGeom prst="rect">
            <a:avLst/>
          </a:prstGeom>
          <a:solidFill>
            <a:srgbClr val="FCC7BC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FCC7BC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52 199 188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43" name="Google Shape;272;p32">
            <a:extLst>
              <a:ext uri="{FF2B5EF4-FFF2-40B4-BE49-F238E27FC236}">
                <a16:creationId xmlns:a16="http://schemas.microsoft.com/office/drawing/2014/main" id="{1DAFB9B3-1694-4F2E-BEC7-193FCC15E426}"/>
              </a:ext>
            </a:extLst>
          </p:cNvPr>
          <p:cNvSpPr/>
          <p:nvPr userDrawn="1"/>
        </p:nvSpPr>
        <p:spPr>
          <a:xfrm>
            <a:off x="-3446527" y="0"/>
            <a:ext cx="98753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lvl="0"/>
            <a:r>
              <a:rPr lang="en-US" sz="800"/>
              <a:t>Core Brand Colors</a:t>
            </a:r>
          </a:p>
        </p:txBody>
      </p:sp>
      <p:sp>
        <p:nvSpPr>
          <p:cNvPr id="44" name="Google Shape;284;p32">
            <a:extLst>
              <a:ext uri="{FF2B5EF4-FFF2-40B4-BE49-F238E27FC236}">
                <a16:creationId xmlns:a16="http://schemas.microsoft.com/office/drawing/2014/main" id="{743A1FA9-BBA0-4B60-B680-70B9B3371328}"/>
              </a:ext>
            </a:extLst>
          </p:cNvPr>
          <p:cNvSpPr/>
          <p:nvPr userDrawn="1"/>
        </p:nvSpPr>
        <p:spPr>
          <a:xfrm>
            <a:off x="-3446527" y="4545580"/>
            <a:ext cx="987539" cy="459647"/>
          </a:xfrm>
          <a:prstGeom prst="rect">
            <a:avLst/>
          </a:prstGeom>
          <a:solidFill>
            <a:srgbClr val="1DB55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1DB55A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9 181 90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5" name="Google Shape;289;p32">
            <a:extLst>
              <a:ext uri="{FF2B5EF4-FFF2-40B4-BE49-F238E27FC236}">
                <a16:creationId xmlns:a16="http://schemas.microsoft.com/office/drawing/2014/main" id="{778DDF6D-4364-4AD9-93A8-F0082C9B0863}"/>
              </a:ext>
            </a:extLst>
          </p:cNvPr>
          <p:cNvSpPr/>
          <p:nvPr userDrawn="1"/>
        </p:nvSpPr>
        <p:spPr>
          <a:xfrm>
            <a:off x="-3446527" y="4020003"/>
            <a:ext cx="987539" cy="459647"/>
          </a:xfrm>
          <a:prstGeom prst="rect">
            <a:avLst/>
          </a:prstGeom>
          <a:solidFill>
            <a:srgbClr val="F4C12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F4C12A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44 193 42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46" name="Google Shape;272;p32">
            <a:extLst>
              <a:ext uri="{FF2B5EF4-FFF2-40B4-BE49-F238E27FC236}">
                <a16:creationId xmlns:a16="http://schemas.microsoft.com/office/drawing/2014/main" id="{A0202208-AD39-42C5-B818-B22AB08BB48E}"/>
              </a:ext>
            </a:extLst>
          </p:cNvPr>
          <p:cNvSpPr/>
          <p:nvPr userDrawn="1"/>
        </p:nvSpPr>
        <p:spPr>
          <a:xfrm>
            <a:off x="-3446527" y="3272163"/>
            <a:ext cx="98753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lvl="0"/>
            <a:r>
              <a:rPr lang="en-US" sz="800"/>
              <a:t>Stoplight Accents</a:t>
            </a:r>
          </a:p>
        </p:txBody>
      </p:sp>
      <p:sp>
        <p:nvSpPr>
          <p:cNvPr id="47" name="Google Shape;273;p32">
            <a:extLst>
              <a:ext uri="{FF2B5EF4-FFF2-40B4-BE49-F238E27FC236}">
                <a16:creationId xmlns:a16="http://schemas.microsoft.com/office/drawing/2014/main" id="{2E6F96B5-1612-483D-B833-A947A78CD5B7}"/>
              </a:ext>
            </a:extLst>
          </p:cNvPr>
          <p:cNvSpPr/>
          <p:nvPr userDrawn="1"/>
        </p:nvSpPr>
        <p:spPr>
          <a:xfrm>
            <a:off x="-3446527" y="3496874"/>
            <a:ext cx="987539" cy="457200"/>
          </a:xfrm>
          <a:prstGeom prst="rect">
            <a:avLst/>
          </a:prstGeom>
          <a:solidFill>
            <a:srgbClr val="E2300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pt-BR" sz="800">
                <a:solidFill>
                  <a:schemeClr val="bg1"/>
                </a:solidFill>
              </a:rPr>
              <a:t>HEX  #E23000</a:t>
            </a:r>
          </a:p>
          <a:p>
            <a:pPr lvl="0"/>
            <a:r>
              <a:rPr lang="pt-BR" sz="800">
                <a:solidFill>
                  <a:schemeClr val="bg1"/>
                </a:solidFill>
              </a:rPr>
              <a:t>RGB  226 48 0</a:t>
            </a:r>
          </a:p>
        </p:txBody>
      </p:sp>
    </p:spTree>
    <p:extLst>
      <p:ext uri="{BB962C8B-B14F-4D97-AF65-F5344CB8AC3E}">
        <p14:creationId xmlns:p14="http://schemas.microsoft.com/office/powerpoint/2010/main" val="1103204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cob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A7C9D2-454A-403D-BEEB-367B6054B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9571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A7C9D2-454A-403D-BEEB-367B6054B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4E0782FC-0D62-4546-9EFB-D728D43E2D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4016" y="0"/>
            <a:ext cx="5967984" cy="6858000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D896930-D631-1B4A-A57B-D206DCB57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913789" y="3429000"/>
            <a:ext cx="5431448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7">
            <a:extLst>
              <a:ext uri="{FF2B5EF4-FFF2-40B4-BE49-F238E27FC236}">
                <a16:creationId xmlns:a16="http://schemas.microsoft.com/office/drawing/2014/main" id="{6D40503F-E4F6-4B4E-9895-E4A5DB2757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2058211"/>
            <a:ext cx="5431450" cy="1006210"/>
          </a:xfrm>
        </p:spPr>
        <p:txBody>
          <a:bodyPr vert="horz" wrap="square" lIns="0" tIns="0" rIns="0" bIns="0">
            <a:noAutofit/>
          </a:bodyPr>
          <a:lstStyle>
            <a:lvl1pPr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C309035-DDDB-4CF6-9D36-76A746C59082}"/>
              </a:ext>
            </a:extLst>
          </p:cNvPr>
          <p:cNvSpPr txBox="1"/>
          <p:nvPr userDrawn="1"/>
        </p:nvSpPr>
        <p:spPr>
          <a:xfrm rot="16200000">
            <a:off x="11119572" y="5513196"/>
            <a:ext cx="1858946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0" algn="l" defTabSz="914400" rtl="0" eaLnBrk="1" latinLnBrk="0" hangingPunct="1"/>
            <a:r>
              <a:rPr lang="en-HK" sz="600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ediaLink's Confidential Information</a:t>
            </a:r>
            <a:endParaRPr lang="en-US" sz="600" b="0" i="0" kern="1200">
              <a:solidFill>
                <a:schemeClr val="bg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DEC7DC-D8D2-430D-B53C-727E3553ED62}"/>
              </a:ext>
            </a:extLst>
          </p:cNvPr>
          <p:cNvSpPr txBox="1"/>
          <p:nvPr userDrawn="1"/>
        </p:nvSpPr>
        <p:spPr>
          <a:xfrm>
            <a:off x="11704320" y="6592014"/>
            <a:ext cx="198120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l"/>
            <a:fld id="{E492F3D6-84B5-4872-9E65-939A30BC4082}" type="slidenum">
              <a:rPr lang="en-HK" sz="800" b="0" i="0" kern="120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0766B1E-7C64-400F-904E-6EC972C2CF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399" y="3793571"/>
            <a:ext cx="5430838" cy="172878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3363" indent="-233363">
              <a:defRPr sz="2400">
                <a:solidFill>
                  <a:schemeClr val="tx1"/>
                </a:solidFill>
              </a:defRPr>
            </a:lvl2pPr>
            <a:lvl3pPr marL="517525" indent="-284163">
              <a:defRPr sz="2400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Optional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183742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intro_cob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B51659-BF3A-4EE5-A5CA-DE989312D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724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B51659-BF3A-4EE5-A5CA-DE989312D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>
            <a:extLst>
              <a:ext uri="{FF2B5EF4-FFF2-40B4-BE49-F238E27FC236}">
                <a16:creationId xmlns:a16="http://schemas.microsoft.com/office/drawing/2014/main" id="{8F1983C5-CB3B-A74C-8A16-0050D8CD8F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0879" y="1596793"/>
            <a:ext cx="9075371" cy="3280007"/>
          </a:xfrm>
        </p:spPr>
        <p:txBody>
          <a:bodyPr vert="horz" wrap="square" lIns="0" tIns="0" rIns="0" bIns="0">
            <a:noAutofit/>
          </a:bodyPr>
          <a:lstStyle>
            <a:lvl1pPr>
              <a:defRPr sz="6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ase study header statement citing outcom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006D25-F398-0740-B78D-914BD57042E8}"/>
              </a:ext>
            </a:extLst>
          </p:cNvPr>
          <p:cNvSpPr/>
          <p:nvPr userDrawn="1"/>
        </p:nvSpPr>
        <p:spPr>
          <a:xfrm rot="5400000">
            <a:off x="5789676" y="-5795232"/>
            <a:ext cx="612648" cy="121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6B6BCF3-6B03-2840-AC99-E139589DAA7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60513" y="1279523"/>
            <a:ext cx="9075738" cy="180977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200" b="0">
                <a:solidFill>
                  <a:schemeClr val="tx1">
                    <a:alpha val="75254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B9995E-E270-44F5-87E5-2719A563E3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60879" y="5185997"/>
            <a:ext cx="2635250" cy="1036638"/>
          </a:xfrm>
        </p:spPr>
        <p:txBody>
          <a:bodyPr anchor="b" anchorCtr="0"/>
          <a:lstStyle>
            <a:lvl1pPr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background information</a:t>
            </a:r>
          </a:p>
        </p:txBody>
      </p:sp>
    </p:spTree>
    <p:extLst>
      <p:ext uri="{BB962C8B-B14F-4D97-AF65-F5344CB8AC3E}">
        <p14:creationId xmlns:p14="http://schemas.microsoft.com/office/powerpoint/2010/main" val="250684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etail_cob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11903D-089F-471F-A806-850CA03F5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55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D11903D-089F-471F-A806-850CA03F5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7">
            <a:extLst>
              <a:ext uri="{FF2B5EF4-FFF2-40B4-BE49-F238E27FC236}">
                <a16:creationId xmlns:a16="http://schemas.microsoft.com/office/drawing/2014/main" id="{153BAE58-947C-7043-9F1F-63D42C635255}"/>
              </a:ext>
            </a:extLst>
          </p:cNvPr>
          <p:cNvSpPr txBox="1">
            <a:spLocks/>
          </p:cNvSpPr>
          <p:nvPr userDrawn="1"/>
        </p:nvSpPr>
        <p:spPr>
          <a:xfrm>
            <a:off x="1555750" y="1186227"/>
            <a:ext cx="1714480" cy="27427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 typeface="Arial" panose="020B0604020202020204" pitchFamily="34" charset="0"/>
              <a:buNone/>
              <a:defRPr sz="4400" b="0" i="0" kern="1200" cap="none" spc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allenge</a:t>
            </a:r>
          </a:p>
        </p:txBody>
      </p:sp>
      <p:sp>
        <p:nvSpPr>
          <p:cNvPr id="21" name="Title 17">
            <a:extLst>
              <a:ext uri="{FF2B5EF4-FFF2-40B4-BE49-F238E27FC236}">
                <a16:creationId xmlns:a16="http://schemas.microsoft.com/office/drawing/2014/main" id="{04E04C8A-E816-3D4D-A9CA-C8B72BF31DE3}"/>
              </a:ext>
            </a:extLst>
          </p:cNvPr>
          <p:cNvSpPr txBox="1">
            <a:spLocks/>
          </p:cNvSpPr>
          <p:nvPr userDrawn="1"/>
        </p:nvSpPr>
        <p:spPr>
          <a:xfrm>
            <a:off x="1555750" y="4070022"/>
            <a:ext cx="1714480" cy="27427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 typeface="Arial" panose="020B0604020202020204" pitchFamily="34" charset="0"/>
              <a:buNone/>
              <a:defRPr sz="4400" b="0" i="0" kern="1200" cap="none" spc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lution</a:t>
            </a:r>
          </a:p>
        </p:txBody>
      </p:sp>
      <p:sp>
        <p:nvSpPr>
          <p:cNvPr id="15" name="Title 17">
            <a:extLst>
              <a:ext uri="{FF2B5EF4-FFF2-40B4-BE49-F238E27FC236}">
                <a16:creationId xmlns:a16="http://schemas.microsoft.com/office/drawing/2014/main" id="{364A56EB-49A0-D84F-9A82-4605C96FC5DD}"/>
              </a:ext>
            </a:extLst>
          </p:cNvPr>
          <p:cNvSpPr txBox="1">
            <a:spLocks/>
          </p:cNvSpPr>
          <p:nvPr userDrawn="1"/>
        </p:nvSpPr>
        <p:spPr>
          <a:xfrm>
            <a:off x="8006873" y="1587500"/>
            <a:ext cx="2640505" cy="37846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 typeface="Arial" panose="020B0604020202020204" pitchFamily="34" charset="0"/>
              <a:buNone/>
              <a:defRPr sz="4400" b="0" i="0" kern="1200" cap="none" spc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utcom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672DFDD-4598-4F4E-B495-CCA384E5FFED}"/>
              </a:ext>
            </a:extLst>
          </p:cNvPr>
          <p:cNvCxnSpPr>
            <a:cxnSpLocks/>
          </p:cNvCxnSpPr>
          <p:nvPr userDrawn="1"/>
        </p:nvCxnSpPr>
        <p:spPr>
          <a:xfrm>
            <a:off x="7080250" y="607092"/>
            <a:ext cx="0" cy="625090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0388F563-9DCE-4025-9C81-D46486B1CD4B}"/>
              </a:ext>
            </a:extLst>
          </p:cNvPr>
          <p:cNvSpPr/>
          <p:nvPr userDrawn="1"/>
        </p:nvSpPr>
        <p:spPr>
          <a:xfrm rot="5400000">
            <a:off x="5789676" y="-5795232"/>
            <a:ext cx="612648" cy="121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9E0787-B787-4CB3-B06B-E7D65094A798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1555750" y="1587500"/>
            <a:ext cx="4540248" cy="1841500"/>
          </a:xfr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FA4277F-21A7-4241-B357-898AD04E6A0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1555750" y="4436780"/>
            <a:ext cx="4540248" cy="1841500"/>
          </a:xfr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23AF9E45-8E4B-4776-86AE-1F559947F3A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8006873" y="2098675"/>
            <a:ext cx="3182938" cy="3690938"/>
          </a:xfr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5744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, Content_cob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ADD57D-B4E0-4A63-AB72-23D43FF432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4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ADD57D-B4E0-4A63-AB72-23D43FF432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65111858-1EEC-EB4B-8A60-65B400C2491E}"/>
              </a:ext>
            </a:extLst>
          </p:cNvPr>
          <p:cNvSpPr/>
          <p:nvPr userDrawn="1"/>
        </p:nvSpPr>
        <p:spPr>
          <a:xfrm>
            <a:off x="463296" y="0"/>
            <a:ext cx="35816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17">
            <a:extLst>
              <a:ext uri="{FF2B5EF4-FFF2-40B4-BE49-F238E27FC236}">
                <a16:creationId xmlns:a16="http://schemas.microsoft.com/office/drawing/2014/main" id="{0AA294E5-B662-4C57-A6BF-141A6485DF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28402"/>
            <a:ext cx="2825750" cy="1499440"/>
          </a:xfrm>
        </p:spPr>
        <p:txBody>
          <a:bodyPr vert="horz" wrap="square" lIns="0" tIns="0" rIns="0" bIns="0">
            <a:no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 or statement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8D53900-B806-43D0-A880-24C25338EF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2712595"/>
            <a:ext cx="2825750" cy="3510454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18282C1-0088-49D7-8191-99CF0600822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657597" y="530664"/>
            <a:ext cx="6924803" cy="5796672"/>
          </a:xfrm>
        </p:spPr>
        <p:txBody>
          <a:bodyPr anchor="ctr" anchorCtr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Google Shape;278;p32">
            <a:extLst>
              <a:ext uri="{FF2B5EF4-FFF2-40B4-BE49-F238E27FC236}">
                <a16:creationId xmlns:a16="http://schemas.microsoft.com/office/drawing/2014/main" id="{729EB1F3-97D6-4E74-B26D-0FDBAE053549}"/>
              </a:ext>
            </a:extLst>
          </p:cNvPr>
          <p:cNvSpPr/>
          <p:nvPr userDrawn="1"/>
        </p:nvSpPr>
        <p:spPr>
          <a:xfrm>
            <a:off x="-1263969" y="224609"/>
            <a:ext cx="987539" cy="457200"/>
          </a:xfrm>
          <a:prstGeom prst="rect">
            <a:avLst/>
          </a:prstGeom>
          <a:solidFill>
            <a:srgbClr val="230F2C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nl-NL" sz="800">
                <a:solidFill>
                  <a:schemeClr val="bg1"/>
                </a:solidFill>
              </a:rPr>
              <a:t>HEX  #230F2C</a:t>
            </a:r>
          </a:p>
          <a:p>
            <a:pPr lvl="0"/>
            <a:r>
              <a:rPr lang="nl-NL" sz="800">
                <a:solidFill>
                  <a:schemeClr val="bg1"/>
                </a:solidFill>
              </a:rPr>
              <a:t>RGB  35 15 44</a:t>
            </a:r>
          </a:p>
        </p:txBody>
      </p:sp>
      <p:sp>
        <p:nvSpPr>
          <p:cNvPr id="39" name="Google Shape;272;p32">
            <a:extLst>
              <a:ext uri="{FF2B5EF4-FFF2-40B4-BE49-F238E27FC236}">
                <a16:creationId xmlns:a16="http://schemas.microsoft.com/office/drawing/2014/main" id="{BC57E1B0-5679-4ECF-8FEF-2D00FED0CF7E}"/>
              </a:ext>
            </a:extLst>
          </p:cNvPr>
          <p:cNvSpPr/>
          <p:nvPr userDrawn="1"/>
        </p:nvSpPr>
        <p:spPr>
          <a:xfrm>
            <a:off x="-3446527" y="224711"/>
            <a:ext cx="987539" cy="457200"/>
          </a:xfrm>
          <a:prstGeom prst="rect">
            <a:avLst/>
          </a:prstGeom>
          <a:solidFill>
            <a:srgbClr val="5B4AFF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5B4AFF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91 74 255</a:t>
            </a:r>
          </a:p>
        </p:txBody>
      </p:sp>
      <p:sp>
        <p:nvSpPr>
          <p:cNvPr id="40" name="Google Shape;282;p32">
            <a:extLst>
              <a:ext uri="{FF2B5EF4-FFF2-40B4-BE49-F238E27FC236}">
                <a16:creationId xmlns:a16="http://schemas.microsoft.com/office/drawing/2014/main" id="{6F8AE741-864B-4485-9D3B-9D36F9ED17F6}"/>
              </a:ext>
            </a:extLst>
          </p:cNvPr>
          <p:cNvSpPr/>
          <p:nvPr userDrawn="1"/>
        </p:nvSpPr>
        <p:spPr>
          <a:xfrm>
            <a:off x="-3446527" y="880133"/>
            <a:ext cx="987539" cy="459647"/>
          </a:xfrm>
          <a:prstGeom prst="rect">
            <a:avLst/>
          </a:prstGeom>
          <a:solidFill>
            <a:srgbClr val="180539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180539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4 5 57</a:t>
            </a:r>
          </a:p>
        </p:txBody>
      </p:sp>
      <p:sp>
        <p:nvSpPr>
          <p:cNvPr id="41" name="Google Shape;283;p32">
            <a:extLst>
              <a:ext uri="{FF2B5EF4-FFF2-40B4-BE49-F238E27FC236}">
                <a16:creationId xmlns:a16="http://schemas.microsoft.com/office/drawing/2014/main" id="{DB144B75-1E14-4F33-909D-883810D7BF4D}"/>
              </a:ext>
            </a:extLst>
          </p:cNvPr>
          <p:cNvSpPr/>
          <p:nvPr userDrawn="1"/>
        </p:nvSpPr>
        <p:spPr>
          <a:xfrm>
            <a:off x="-3446527" y="1339882"/>
            <a:ext cx="987539" cy="459647"/>
          </a:xfrm>
          <a:prstGeom prst="rect">
            <a:avLst/>
          </a:prstGeom>
          <a:solidFill>
            <a:srgbClr val="3A2CC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3A2CC0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58 44 192 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2" name="Google Shape;284;p32">
            <a:extLst>
              <a:ext uri="{FF2B5EF4-FFF2-40B4-BE49-F238E27FC236}">
                <a16:creationId xmlns:a16="http://schemas.microsoft.com/office/drawing/2014/main" id="{D9FFA09D-2D93-4C54-B23E-F0768F5DD5DE}"/>
              </a:ext>
            </a:extLst>
          </p:cNvPr>
          <p:cNvSpPr/>
          <p:nvPr userDrawn="1"/>
        </p:nvSpPr>
        <p:spPr>
          <a:xfrm>
            <a:off x="-3446527" y="1799631"/>
            <a:ext cx="987539" cy="459647"/>
          </a:xfrm>
          <a:prstGeom prst="rect">
            <a:avLst/>
          </a:prstGeom>
          <a:solidFill>
            <a:srgbClr val="85A7FD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85A7FD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133 167 253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3" name="Google Shape;285;p32">
            <a:extLst>
              <a:ext uri="{FF2B5EF4-FFF2-40B4-BE49-F238E27FC236}">
                <a16:creationId xmlns:a16="http://schemas.microsoft.com/office/drawing/2014/main" id="{0198A823-E87B-48CD-A154-B6638A5EC9CF}"/>
              </a:ext>
            </a:extLst>
          </p:cNvPr>
          <p:cNvSpPr/>
          <p:nvPr userDrawn="1"/>
        </p:nvSpPr>
        <p:spPr>
          <a:xfrm>
            <a:off x="-3446527" y="2259380"/>
            <a:ext cx="987539" cy="459647"/>
          </a:xfrm>
          <a:prstGeom prst="rect">
            <a:avLst/>
          </a:prstGeom>
          <a:solidFill>
            <a:srgbClr val="D1E5F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D1E6FA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09 230 250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44" name="Google Shape;273;p32">
            <a:extLst>
              <a:ext uri="{FF2B5EF4-FFF2-40B4-BE49-F238E27FC236}">
                <a16:creationId xmlns:a16="http://schemas.microsoft.com/office/drawing/2014/main" id="{50F327EF-76C0-4947-835A-0DE69A860520}"/>
              </a:ext>
            </a:extLst>
          </p:cNvPr>
          <p:cNvSpPr/>
          <p:nvPr userDrawn="1"/>
        </p:nvSpPr>
        <p:spPr>
          <a:xfrm>
            <a:off x="-2355255" y="224711"/>
            <a:ext cx="987539" cy="457200"/>
          </a:xfrm>
          <a:prstGeom prst="rect">
            <a:avLst/>
          </a:prstGeom>
          <a:solidFill>
            <a:srgbClr val="E2300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pt-BR" sz="800">
                <a:solidFill>
                  <a:schemeClr val="bg1"/>
                </a:solidFill>
              </a:rPr>
              <a:t>HEX  #E23000</a:t>
            </a:r>
          </a:p>
          <a:p>
            <a:pPr lvl="0"/>
            <a:r>
              <a:rPr lang="pt-BR" sz="800">
                <a:solidFill>
                  <a:schemeClr val="bg1"/>
                </a:solidFill>
              </a:rPr>
              <a:t>RGB  226 48 0</a:t>
            </a:r>
          </a:p>
        </p:txBody>
      </p:sp>
      <p:sp>
        <p:nvSpPr>
          <p:cNvPr id="45" name="Google Shape;286;p32">
            <a:extLst>
              <a:ext uri="{FF2B5EF4-FFF2-40B4-BE49-F238E27FC236}">
                <a16:creationId xmlns:a16="http://schemas.microsoft.com/office/drawing/2014/main" id="{E3330A9F-B8E3-4543-87DC-B9269B87B167}"/>
              </a:ext>
            </a:extLst>
          </p:cNvPr>
          <p:cNvSpPr/>
          <p:nvPr userDrawn="1"/>
        </p:nvSpPr>
        <p:spPr>
          <a:xfrm>
            <a:off x="-2355241" y="880133"/>
            <a:ext cx="987539" cy="459647"/>
          </a:xfrm>
          <a:prstGeom prst="rect">
            <a:avLst/>
          </a:prstGeom>
          <a:solidFill>
            <a:srgbClr val="560322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560322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86 3 34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6" name="Google Shape;287;p32">
            <a:extLst>
              <a:ext uri="{FF2B5EF4-FFF2-40B4-BE49-F238E27FC236}">
                <a16:creationId xmlns:a16="http://schemas.microsoft.com/office/drawing/2014/main" id="{711DD450-ABCD-4C69-9774-069F74745C69}"/>
              </a:ext>
            </a:extLst>
          </p:cNvPr>
          <p:cNvSpPr/>
          <p:nvPr userDrawn="1"/>
        </p:nvSpPr>
        <p:spPr>
          <a:xfrm>
            <a:off x="-2355241" y="1339882"/>
            <a:ext cx="987539" cy="459647"/>
          </a:xfrm>
          <a:prstGeom prst="rect">
            <a:avLst/>
          </a:prstGeom>
          <a:solidFill>
            <a:srgbClr val="AB081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AB0810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171 8 16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7" name="Google Shape;288;p32">
            <a:extLst>
              <a:ext uri="{FF2B5EF4-FFF2-40B4-BE49-F238E27FC236}">
                <a16:creationId xmlns:a16="http://schemas.microsoft.com/office/drawing/2014/main" id="{A18C87B9-EE38-427C-8327-C45F31C2B1A3}"/>
              </a:ext>
            </a:extLst>
          </p:cNvPr>
          <p:cNvSpPr/>
          <p:nvPr userDrawn="1"/>
        </p:nvSpPr>
        <p:spPr>
          <a:xfrm>
            <a:off x="-2355241" y="1799631"/>
            <a:ext cx="987539" cy="459647"/>
          </a:xfrm>
          <a:prstGeom prst="rect">
            <a:avLst/>
          </a:prstGeom>
          <a:solidFill>
            <a:srgbClr val="F97C5D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f97C5D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49 124 93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48" name="Google Shape;289;p32">
            <a:extLst>
              <a:ext uri="{FF2B5EF4-FFF2-40B4-BE49-F238E27FC236}">
                <a16:creationId xmlns:a16="http://schemas.microsoft.com/office/drawing/2014/main" id="{C8DA684C-FE13-4DBC-98DD-A848B687404E}"/>
              </a:ext>
            </a:extLst>
          </p:cNvPr>
          <p:cNvSpPr/>
          <p:nvPr userDrawn="1"/>
        </p:nvSpPr>
        <p:spPr>
          <a:xfrm>
            <a:off x="-2355241" y="2259380"/>
            <a:ext cx="987539" cy="459647"/>
          </a:xfrm>
          <a:prstGeom prst="rect">
            <a:avLst/>
          </a:prstGeom>
          <a:solidFill>
            <a:srgbClr val="FCC7BC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FCC7BC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52 199 188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49" name="Google Shape;272;p32">
            <a:extLst>
              <a:ext uri="{FF2B5EF4-FFF2-40B4-BE49-F238E27FC236}">
                <a16:creationId xmlns:a16="http://schemas.microsoft.com/office/drawing/2014/main" id="{FFA1ABCA-A263-4CA0-8EFC-0DC3E87BA472}"/>
              </a:ext>
            </a:extLst>
          </p:cNvPr>
          <p:cNvSpPr/>
          <p:nvPr userDrawn="1"/>
        </p:nvSpPr>
        <p:spPr>
          <a:xfrm>
            <a:off x="-3446527" y="0"/>
            <a:ext cx="98753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lvl="0"/>
            <a:r>
              <a:rPr lang="en-US" sz="800"/>
              <a:t>Core Brand Colors</a:t>
            </a:r>
          </a:p>
        </p:txBody>
      </p:sp>
      <p:sp>
        <p:nvSpPr>
          <p:cNvPr id="50" name="Google Shape;284;p32">
            <a:extLst>
              <a:ext uri="{FF2B5EF4-FFF2-40B4-BE49-F238E27FC236}">
                <a16:creationId xmlns:a16="http://schemas.microsoft.com/office/drawing/2014/main" id="{4C01B451-FF6C-49B6-BE13-3D35E9BEC052}"/>
              </a:ext>
            </a:extLst>
          </p:cNvPr>
          <p:cNvSpPr/>
          <p:nvPr userDrawn="1"/>
        </p:nvSpPr>
        <p:spPr>
          <a:xfrm>
            <a:off x="-3446527" y="4545580"/>
            <a:ext cx="987539" cy="459647"/>
          </a:xfrm>
          <a:prstGeom prst="rect">
            <a:avLst/>
          </a:prstGeom>
          <a:solidFill>
            <a:srgbClr val="1DB55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bg1"/>
                </a:solidFill>
              </a:rPr>
              <a:t>HEX  #1DB55A</a:t>
            </a:r>
          </a:p>
          <a:p>
            <a:pPr lvl="0"/>
            <a:r>
              <a:rPr lang="en-US" sz="800">
                <a:solidFill>
                  <a:schemeClr val="bg1"/>
                </a:solidFill>
              </a:rPr>
              <a:t>RGB  29 181 90</a:t>
            </a:r>
            <a:endParaRPr sz="800">
              <a:solidFill>
                <a:schemeClr val="bg1"/>
              </a:solidFill>
            </a:endParaRPr>
          </a:p>
        </p:txBody>
      </p:sp>
      <p:sp>
        <p:nvSpPr>
          <p:cNvPr id="51" name="Google Shape;289;p32">
            <a:extLst>
              <a:ext uri="{FF2B5EF4-FFF2-40B4-BE49-F238E27FC236}">
                <a16:creationId xmlns:a16="http://schemas.microsoft.com/office/drawing/2014/main" id="{726AFC92-D4D0-4473-961A-D0937E0C623E}"/>
              </a:ext>
            </a:extLst>
          </p:cNvPr>
          <p:cNvSpPr/>
          <p:nvPr userDrawn="1"/>
        </p:nvSpPr>
        <p:spPr>
          <a:xfrm>
            <a:off x="-3446527" y="4020003"/>
            <a:ext cx="987539" cy="459647"/>
          </a:xfrm>
          <a:prstGeom prst="rect">
            <a:avLst/>
          </a:prstGeom>
          <a:solidFill>
            <a:srgbClr val="F4C12A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en-US" sz="800">
                <a:solidFill>
                  <a:schemeClr val="tx2"/>
                </a:solidFill>
              </a:rPr>
              <a:t>HEX  #F4C12A</a:t>
            </a:r>
          </a:p>
          <a:p>
            <a:pPr lvl="0"/>
            <a:r>
              <a:rPr lang="en-US" sz="800">
                <a:solidFill>
                  <a:schemeClr val="tx2"/>
                </a:solidFill>
              </a:rPr>
              <a:t>RGB  244 193 42</a:t>
            </a:r>
            <a:endParaRPr sz="800">
              <a:solidFill>
                <a:schemeClr val="tx2"/>
              </a:solidFill>
            </a:endParaRPr>
          </a:p>
        </p:txBody>
      </p:sp>
      <p:sp>
        <p:nvSpPr>
          <p:cNvPr id="52" name="Google Shape;272;p32">
            <a:extLst>
              <a:ext uri="{FF2B5EF4-FFF2-40B4-BE49-F238E27FC236}">
                <a16:creationId xmlns:a16="http://schemas.microsoft.com/office/drawing/2014/main" id="{EA37152C-3BFD-4465-86FC-2CB798E12CE0}"/>
              </a:ext>
            </a:extLst>
          </p:cNvPr>
          <p:cNvSpPr/>
          <p:nvPr userDrawn="1"/>
        </p:nvSpPr>
        <p:spPr>
          <a:xfrm>
            <a:off x="-3446527" y="3272163"/>
            <a:ext cx="98753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lvl="0"/>
            <a:r>
              <a:rPr lang="en-US" sz="800"/>
              <a:t>Stoplight Accents</a:t>
            </a:r>
          </a:p>
        </p:txBody>
      </p:sp>
      <p:sp>
        <p:nvSpPr>
          <p:cNvPr id="53" name="Google Shape;273;p32">
            <a:extLst>
              <a:ext uri="{FF2B5EF4-FFF2-40B4-BE49-F238E27FC236}">
                <a16:creationId xmlns:a16="http://schemas.microsoft.com/office/drawing/2014/main" id="{0828B3EA-3B40-4F01-A07D-98914354E0ED}"/>
              </a:ext>
            </a:extLst>
          </p:cNvPr>
          <p:cNvSpPr/>
          <p:nvPr userDrawn="1"/>
        </p:nvSpPr>
        <p:spPr>
          <a:xfrm>
            <a:off x="-3446527" y="3496874"/>
            <a:ext cx="987539" cy="457200"/>
          </a:xfrm>
          <a:prstGeom prst="rect">
            <a:avLst/>
          </a:prstGeom>
          <a:solidFill>
            <a:srgbClr val="E23000"/>
          </a:solidFill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/>
          <a:p>
            <a:pPr lvl="0"/>
            <a:r>
              <a:rPr lang="pt-BR" sz="800">
                <a:solidFill>
                  <a:schemeClr val="bg1"/>
                </a:solidFill>
              </a:rPr>
              <a:t>HEX  #E23000</a:t>
            </a:r>
          </a:p>
          <a:p>
            <a:pPr lvl="0"/>
            <a:r>
              <a:rPr lang="pt-BR" sz="800">
                <a:solidFill>
                  <a:schemeClr val="bg1"/>
                </a:solidFill>
              </a:rPr>
              <a:t>RGB  226 48 0</a:t>
            </a:r>
          </a:p>
        </p:txBody>
      </p:sp>
    </p:spTree>
    <p:extLst>
      <p:ext uri="{BB962C8B-B14F-4D97-AF65-F5344CB8AC3E}">
        <p14:creationId xmlns:p14="http://schemas.microsoft.com/office/powerpoint/2010/main" val="323506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_cob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84B39E-B3E9-4625-81C0-8A4C48015D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27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84B39E-B3E9-4625-81C0-8A4C48015D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65111858-1EEC-EB4B-8A60-65B400C2491E}"/>
              </a:ext>
            </a:extLst>
          </p:cNvPr>
          <p:cNvSpPr/>
          <p:nvPr userDrawn="1"/>
        </p:nvSpPr>
        <p:spPr>
          <a:xfrm>
            <a:off x="499872" y="0"/>
            <a:ext cx="4611877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EC9071F7-F289-2D4A-B389-BA3D147503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19764" y="634997"/>
            <a:ext cx="2124076" cy="55562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6C5B73D-B71E-7D44-A21C-21C9B808C853}"/>
              </a:ext>
            </a:extLst>
          </p:cNvPr>
          <p:cNvCxnSpPr>
            <a:cxnSpLocks/>
          </p:cNvCxnSpPr>
          <p:nvPr userDrawn="1"/>
        </p:nvCxnSpPr>
        <p:spPr>
          <a:xfrm>
            <a:off x="5111750" y="3429000"/>
            <a:ext cx="70802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0C0E0AA-7AC9-B840-93D6-776F2FC20C65}"/>
              </a:ext>
            </a:extLst>
          </p:cNvPr>
          <p:cNvCxnSpPr>
            <a:cxnSpLocks/>
          </p:cNvCxnSpPr>
          <p:nvPr userDrawn="1"/>
        </p:nvCxnSpPr>
        <p:spPr>
          <a:xfrm>
            <a:off x="8651875" y="0"/>
            <a:ext cx="0" cy="6858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17">
            <a:extLst>
              <a:ext uri="{FF2B5EF4-FFF2-40B4-BE49-F238E27FC236}">
                <a16:creationId xmlns:a16="http://schemas.microsoft.com/office/drawing/2014/main" id="{0D149DC2-0562-4EB0-8655-AEB578E4B6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928402"/>
            <a:ext cx="3892553" cy="1499439"/>
          </a:xfrm>
        </p:spPr>
        <p:txBody>
          <a:bodyPr vert="horz" wrap="square" lIns="0" tIns="0" rIns="0" bIns="0">
            <a:no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 or statemen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6D962052-89A0-48BE-B5F0-B78AAD5F49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599" y="2712595"/>
            <a:ext cx="3892551" cy="3510454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950AFF9D-8D78-4BB3-8DB3-B1E0679BD8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48771" y="634997"/>
            <a:ext cx="2124076" cy="55562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1D7C453E-EE82-421D-A352-4B435A9EA3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19764" y="4063997"/>
            <a:ext cx="2124076" cy="55562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FD3A32EC-C840-47D0-874C-30D13FC9608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48771" y="4063997"/>
            <a:ext cx="2124076" cy="55562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327DE76-B900-4B9B-B7EA-8C381862FD2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5819764" y="1263644"/>
            <a:ext cx="2124075" cy="1708150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E9445BE-8BA1-4EE6-8943-347251120E9F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9348772" y="1263644"/>
            <a:ext cx="2124075" cy="1708150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55435B7-4E6B-430F-9420-1E68FDF1C0EC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5819764" y="4692644"/>
            <a:ext cx="2124075" cy="1708150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3E515087-2623-42A3-844B-29262E300931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9348772" y="4692644"/>
            <a:ext cx="2124075" cy="1708150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A171C2CC-B783-4548-B67D-D542843339D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6850" y="6489700"/>
            <a:ext cx="2159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058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1"/>
            <a:ext cx="12192001" cy="1155292"/>
            <a:chOff x="0" y="1"/>
            <a:chExt cx="12192001" cy="1155292"/>
          </a:xfrm>
        </p:grpSpPr>
        <p:pic>
          <p:nvPicPr>
            <p:cNvPr id="21" name="Picture 20"/>
            <p:cNvPicPr>
              <a:picLocks noChangeAspect="1"/>
            </p:cNvPicPr>
            <p:nvPr userDrawn="1"/>
          </p:nvPicPr>
          <p:blipFill rotWithShape="1">
            <a:blip r:embed="rId2">
              <a:alphaModFix amt="1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b="83155"/>
            <a:stretch/>
          </p:blipFill>
          <p:spPr>
            <a:xfrm>
              <a:off x="0" y="1"/>
              <a:ext cx="9144000" cy="1155292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>
              <a:alphaModFix amt="1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805" r="27862" b="83180"/>
            <a:stretch/>
          </p:blipFill>
          <p:spPr>
            <a:xfrm>
              <a:off x="9144001" y="1788"/>
              <a:ext cx="3048000" cy="1153503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 userDrawn="1"/>
        </p:nvSpPr>
        <p:spPr>
          <a:xfrm>
            <a:off x="0" y="1155292"/>
            <a:ext cx="12192000" cy="571064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358270"/>
            <a:ext cx="12192000" cy="4997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113" y="365760"/>
            <a:ext cx="11216640" cy="400110"/>
          </a:xfrm>
          <a:prstGeom prst="rect">
            <a:avLst/>
          </a:prstGeom>
        </p:spPr>
        <p:txBody>
          <a:bodyPr anchor="t" anchorCtr="0"/>
          <a:lstStyle>
            <a:lvl1pPr>
              <a:defRPr b="0">
                <a:solidFill>
                  <a:schemeClr val="tx2"/>
                </a:solidFill>
                <a:latin typeface="Franklin Gothic Medium"/>
                <a:cs typeface="Franklin Gothic Medium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41113" y="1600200"/>
            <a:ext cx="11216640" cy="45720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Arial"/>
              <a:buChar char="•"/>
              <a:defRPr>
                <a:solidFill>
                  <a:schemeClr val="tx1"/>
                </a:solidFill>
                <a:latin typeface="Franklin Gothic Book"/>
                <a:cs typeface="Franklin Gothic Book"/>
              </a:defRPr>
            </a:lvl1pPr>
            <a:lvl2pPr>
              <a:buClr>
                <a:srgbClr val="E1261C"/>
              </a:buClr>
              <a:buFont typeface="Arial"/>
              <a:buChar char="•"/>
              <a:defRPr>
                <a:solidFill>
                  <a:schemeClr val="tx1"/>
                </a:solidFill>
                <a:latin typeface="Franklin Gothic Book"/>
                <a:cs typeface="Franklin Gothic Book"/>
              </a:defRPr>
            </a:lvl2pPr>
            <a:lvl3pPr>
              <a:buClr>
                <a:srgbClr val="E1261C"/>
              </a:buClr>
              <a:buFont typeface="Arial"/>
              <a:buChar char="•"/>
              <a:defRPr>
                <a:solidFill>
                  <a:schemeClr val="tx1"/>
                </a:solidFill>
                <a:latin typeface="Franklin Gothic Book"/>
                <a:cs typeface="Franklin Gothic Book"/>
              </a:defRPr>
            </a:lvl3pPr>
            <a:lvl4pPr>
              <a:buClr>
                <a:srgbClr val="E1261C"/>
              </a:buClr>
              <a:buFont typeface="Arial"/>
              <a:buChar char="•"/>
              <a:defRPr>
                <a:solidFill>
                  <a:schemeClr val="tx1"/>
                </a:solidFill>
                <a:latin typeface="Franklin Gothic Book"/>
                <a:cs typeface="Franklin Gothic Book"/>
              </a:defRPr>
            </a:lvl4pPr>
            <a:lvl5pPr>
              <a:buClr>
                <a:srgbClr val="E1261C"/>
              </a:buClr>
              <a:buFont typeface="Arial"/>
              <a:buChar char="•"/>
              <a:defRPr>
                <a:solidFill>
                  <a:schemeClr val="tx1"/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6"/>
          </p:nvPr>
        </p:nvSpPr>
        <p:spPr>
          <a:xfrm>
            <a:off x="11591115" y="6488903"/>
            <a:ext cx="418012" cy="258839"/>
          </a:xfrm>
          <a:prstGeom prst="rect">
            <a:avLst/>
          </a:prstGeom>
        </p:spPr>
        <p:txBody>
          <a:bodyPr/>
          <a:lstStyle>
            <a:lvl1pPr>
              <a:defRPr sz="900" b="1">
                <a:solidFill>
                  <a:srgbClr val="FFFFFF"/>
                </a:solidFill>
                <a:latin typeface="Franklin Gothic heavy"/>
                <a:cs typeface="Franklin Gothic heavy"/>
              </a:defRPr>
            </a:lvl1pPr>
          </a:lstStyle>
          <a:p>
            <a:fld id="{D34DACC3-9742-4940-92E6-4CAB853A32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99578" y="6476935"/>
            <a:ext cx="77511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Out of Home Advertising Association of America 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203" y="6505895"/>
            <a:ext cx="319375" cy="2040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V_cob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7A8445-C2EE-460F-91BD-94C531EEE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957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7A8445-C2EE-460F-91BD-94C531EEE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408F91-27BB-724B-A8D4-6F2953F33EBE}"/>
              </a:ext>
            </a:extLst>
          </p:cNvPr>
          <p:cNvSpPr/>
          <p:nvPr userDrawn="1"/>
        </p:nvSpPr>
        <p:spPr>
          <a:xfrm>
            <a:off x="8163341" y="0"/>
            <a:ext cx="402865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BE45D63-5753-42AE-8877-0189E59DF0E8}"/>
              </a:ext>
            </a:extLst>
          </p:cNvPr>
          <p:cNvCxnSpPr>
            <a:cxnSpLocks/>
          </p:cNvCxnSpPr>
          <p:nvPr userDrawn="1"/>
        </p:nvCxnSpPr>
        <p:spPr>
          <a:xfrm flipV="1">
            <a:off x="8544214" y="540490"/>
            <a:ext cx="0" cy="563488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68C91417-B4CB-4B77-B567-487DD6DA550F}"/>
              </a:ext>
            </a:extLst>
          </p:cNvPr>
          <p:cNvSpPr/>
          <p:nvPr userDrawn="1"/>
        </p:nvSpPr>
        <p:spPr>
          <a:xfrm>
            <a:off x="0" y="0"/>
            <a:ext cx="60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62BE67BC-5215-4784-A829-D1170790BD33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609599" y="1668463"/>
            <a:ext cx="6884989" cy="450691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33FAA152-B09F-4BB2-8111-AFC6E6C9235C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8744897" y="1668463"/>
            <a:ext cx="2837504" cy="4506907"/>
          </a:xfrm>
        </p:spPr>
        <p:txBody>
          <a:bodyPr/>
          <a:lstStyle>
            <a:lvl1pPr>
              <a:defRPr>
                <a:solidFill>
                  <a:srgbClr val="230F2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rgbClr val="230F2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rgbClr val="230F2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solidFill>
                  <a:srgbClr val="230F2C"/>
                </a:solidFill>
              </a:defRPr>
            </a:lvl4pPr>
            <a:lvl5pPr>
              <a:defRPr>
                <a:solidFill>
                  <a:srgbClr val="230F2C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8302C31-8F43-4B1C-B432-BCBED1F4EB59}"/>
              </a:ext>
            </a:extLst>
          </p:cNvPr>
          <p:cNvSpPr txBox="1"/>
          <p:nvPr userDrawn="1"/>
        </p:nvSpPr>
        <p:spPr>
          <a:xfrm>
            <a:off x="11704320" y="6592014"/>
            <a:ext cx="198120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l"/>
            <a:fld id="{E492F3D6-84B5-4872-9E65-939A30BC4082}" type="slidenum">
              <a:rPr lang="en-HK" sz="800" b="0" i="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‹#›</a:t>
            </a:fld>
            <a:endParaRPr lang="en-U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52AA479-1E12-4B90-ADC6-627F4FC3ACAB}"/>
              </a:ext>
            </a:extLst>
          </p:cNvPr>
          <p:cNvSpPr txBox="1"/>
          <p:nvPr userDrawn="1"/>
        </p:nvSpPr>
        <p:spPr>
          <a:xfrm rot="16200000">
            <a:off x="11119572" y="5513196"/>
            <a:ext cx="1858946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0" algn="l" defTabSz="914400" rtl="0" eaLnBrk="1" latinLnBrk="0" hangingPunct="1"/>
            <a:r>
              <a:rPr lang="en-HK" sz="600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ediaLink's Confidential Information</a:t>
            </a:r>
            <a:endParaRPr lang="en-US" sz="600" b="0" i="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1E3CB4C5-9FD0-4025-82AC-0FBB78A60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928402"/>
            <a:ext cx="6885432" cy="443198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1EABD0E-ADBF-4760-B947-A92664758E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44895" y="928402"/>
            <a:ext cx="2837495" cy="443198"/>
          </a:xfrm>
        </p:spPr>
        <p:txBody>
          <a:bodyPr anchor="b" anchorCtr="0"/>
          <a:lstStyle>
            <a:lvl1pPr>
              <a:lnSpc>
                <a:spcPct val="90000"/>
              </a:lnSpc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OV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876F3DB-36F7-4E18-A867-77DBD746B5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6850" y="6489700"/>
            <a:ext cx="2159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58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cob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249D44C-4C7C-4591-9FD0-8BCD97A7C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140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249D44C-4C7C-4591-9FD0-8BCD97A7C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7">
            <a:extLst>
              <a:ext uri="{FF2B5EF4-FFF2-40B4-BE49-F238E27FC236}">
                <a16:creationId xmlns:a16="http://schemas.microsoft.com/office/drawing/2014/main" id="{51EA7F4E-AD11-4D67-A1C1-DEC014BD6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673600"/>
            <a:ext cx="10972800" cy="5549400"/>
          </a:xfrm>
        </p:spPr>
        <p:txBody>
          <a:bodyPr vert="horz" wrap="square" lIns="0" tIns="0" rIns="0" bIns="0" anchor="t">
            <a:noAutofit/>
          </a:bodyPr>
          <a:lstStyle>
            <a:lvl1pPr algn="l">
              <a:lnSpc>
                <a:spcPct val="80000"/>
              </a:lnSpc>
              <a:defRPr sz="8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A short bold statement that sits on color and requires a lot of focu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63F1959-362F-4832-ACA8-1C97A591E74C}"/>
              </a:ext>
            </a:extLst>
          </p:cNvPr>
          <p:cNvSpPr txBox="1"/>
          <p:nvPr userDrawn="1"/>
        </p:nvSpPr>
        <p:spPr>
          <a:xfrm rot="16200000">
            <a:off x="11119572" y="5513196"/>
            <a:ext cx="1858946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l"/>
            <a:r>
              <a:rPr lang="en-HK" sz="600" b="0" i="0" kern="120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ediaLink's Confidential Information</a:t>
            </a:r>
            <a:endParaRPr lang="en-US" sz="60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43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AA034E-7AA4-4514-A3E4-D359CC949E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2646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3AA034E-7AA4-4514-A3E4-D359CC94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56">
            <a:extLst>
              <a:ext uri="{FF2B5EF4-FFF2-40B4-BE49-F238E27FC236}">
                <a16:creationId xmlns:a16="http://schemas.microsoft.com/office/drawing/2014/main" id="{39E75A71-C1CF-91AE-627C-D2CAF8B495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9626" y="0"/>
            <a:ext cx="6092374" cy="6858000"/>
          </a:xfrm>
          <a:prstGeom prst="rect">
            <a:avLst/>
          </a:prstGeom>
        </p:spPr>
      </p:pic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1B4AF44-839E-4D8B-B181-B266BE118E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9EF7C1D3-253E-4008-3A7B-4CB4CD3A69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778361"/>
            <a:ext cx="12192001" cy="201524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9D3C8D2B-844D-5FC7-2AE2-87F0ECBEC0FB}"/>
              </a:ext>
            </a:extLst>
          </p:cNvPr>
          <p:cNvSpPr/>
          <p:nvPr userDrawn="1"/>
        </p:nvSpPr>
        <p:spPr>
          <a:xfrm>
            <a:off x="0" y="5228492"/>
            <a:ext cx="6096000" cy="1629508"/>
          </a:xfrm>
          <a:prstGeom prst="rect">
            <a:avLst/>
          </a:prstGeom>
          <a:solidFill>
            <a:srgbClr val="FFFFF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sz="1400" err="1">
              <a:solidFill>
                <a:schemeClr val="tx2"/>
              </a:solidFill>
              <a:latin typeface="Avenir Book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DC8261-4011-4EA4-BA57-3543DA201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40496"/>
            <a:ext cx="5299894" cy="615553"/>
          </a:xfrm>
          <a:noFill/>
        </p:spPr>
        <p:txBody>
          <a:bodyPr vert="horz" bIns="0" anchor="b" anchorCtr="0">
            <a:noAutofit/>
          </a:bodyPr>
          <a:lstStyle>
            <a:lvl1pPr algn="ctr">
              <a:defRPr sz="2800" b="0" i="0" cap="none" spc="0" baseline="0">
                <a:solidFill>
                  <a:srgbClr val="B2145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ADCA819-3CD9-4DB2-B9F5-D58F6F8E1F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56049"/>
            <a:ext cx="5303520" cy="4398749"/>
          </a:xfrm>
        </p:spPr>
        <p:txBody>
          <a:bodyPr tIns="274320" bIns="0" numCol="1" spcCol="457200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10000"/>
              </a:lnSpc>
              <a:spcAft>
                <a:spcPts val="600"/>
              </a:spcAft>
              <a:buClr>
                <a:schemeClr val="tx2"/>
              </a:buClr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47472" indent="-173736">
              <a:lnSpc>
                <a:spcPct val="11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1" cap="all" spc="5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1" cap="all" spc="50" baseline="0">
                <a:solidFill>
                  <a:srgbClr val="770B4A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b="1" cap="all">
                <a:solidFill>
                  <a:srgbClr val="054351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767C8D-6099-476B-8077-7E3D06DA8362}"/>
              </a:ext>
            </a:extLst>
          </p:cNvPr>
          <p:cNvSpPr/>
          <p:nvPr userDrawn="1"/>
        </p:nvSpPr>
        <p:spPr>
          <a:xfrm>
            <a:off x="6551137" y="440496"/>
            <a:ext cx="5181600" cy="2759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sz="140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705E20-26DE-4FB2-B529-D246D759CA57}"/>
              </a:ext>
            </a:extLst>
          </p:cNvPr>
          <p:cNvSpPr/>
          <p:nvPr userDrawn="1"/>
        </p:nvSpPr>
        <p:spPr>
          <a:xfrm>
            <a:off x="6551137" y="3640896"/>
            <a:ext cx="5181600" cy="2759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sz="140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EF32DB3-5F4C-4645-AF0A-DE3A5C090A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694454" y="583813"/>
            <a:ext cx="4892903" cy="2473270"/>
          </a:xfrm>
        </p:spPr>
        <p:txBody>
          <a:bodyPr anchor="ctr" anchorCtr="0">
            <a:noAutofit/>
          </a:bodyPr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Select box and paste picture</a:t>
            </a:r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6EE17662-7C0D-4E88-8A76-93240391E9E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94454" y="3784186"/>
            <a:ext cx="4892675" cy="2473325"/>
          </a:xfrm>
        </p:spPr>
        <p:txBody>
          <a:bodyPr anchor="ctr" anchorCtr="0">
            <a:noAutofit/>
          </a:bodyPr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Select box and paste pictur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9F2C9C3-3988-8F36-D664-60FA2EDB9120}"/>
              </a:ext>
            </a:extLst>
          </p:cNvPr>
          <p:cNvSpPr txBox="1"/>
          <p:nvPr userDrawn="1"/>
        </p:nvSpPr>
        <p:spPr>
          <a:xfrm>
            <a:off x="11568518" y="6484680"/>
            <a:ext cx="24248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289B0A3-B256-47B6-8185-BAA7850E634A}" type="slidenum">
              <a:rPr lang="en-US" sz="600" kern="100" cap="all" spc="0" baseline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‹#›</a:t>
            </a:fld>
            <a:endParaRPr lang="en-US" sz="600" kern="100" cap="all" spc="0" baseline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36858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1"/>
            <a:ext cx="12192001" cy="1155292"/>
            <a:chOff x="0" y="1"/>
            <a:chExt cx="12192001" cy="1155292"/>
          </a:xfrm>
        </p:grpSpPr>
        <p:pic>
          <p:nvPicPr>
            <p:cNvPr id="21" name="Picture 20"/>
            <p:cNvPicPr>
              <a:picLocks noChangeAspect="1"/>
            </p:cNvPicPr>
            <p:nvPr userDrawn="1"/>
          </p:nvPicPr>
          <p:blipFill rotWithShape="1">
            <a:blip r:embed="rId2">
              <a:alphaModFix amt="1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b="83155"/>
            <a:stretch/>
          </p:blipFill>
          <p:spPr>
            <a:xfrm>
              <a:off x="0" y="1"/>
              <a:ext cx="9144000" cy="1155292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>
              <a:alphaModFix amt="1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805" r="27862" b="83180"/>
            <a:stretch/>
          </p:blipFill>
          <p:spPr>
            <a:xfrm>
              <a:off x="9144001" y="1788"/>
              <a:ext cx="3048000" cy="1153503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 userDrawn="1"/>
        </p:nvSpPr>
        <p:spPr>
          <a:xfrm>
            <a:off x="0" y="1155292"/>
            <a:ext cx="12192000" cy="571064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358270"/>
            <a:ext cx="12192000" cy="4997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113" y="365760"/>
            <a:ext cx="11216640" cy="400110"/>
          </a:xfrm>
          <a:prstGeom prst="rect">
            <a:avLst/>
          </a:prstGeom>
        </p:spPr>
        <p:txBody>
          <a:bodyPr anchor="t" anchorCtr="0"/>
          <a:lstStyle>
            <a:lvl1pPr>
              <a:defRPr b="0">
                <a:solidFill>
                  <a:schemeClr val="tx2"/>
                </a:solidFill>
                <a:latin typeface="Franklin Gothic Medium"/>
                <a:cs typeface="Franklin Gothic Medium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41113" y="1600200"/>
            <a:ext cx="11216640" cy="45720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Arial"/>
              <a:buChar char="•"/>
              <a:defRPr>
                <a:solidFill>
                  <a:schemeClr val="tx1"/>
                </a:solidFill>
                <a:latin typeface="Franklin Gothic Book"/>
                <a:cs typeface="Franklin Gothic Book"/>
              </a:defRPr>
            </a:lvl1pPr>
            <a:lvl2pPr>
              <a:buClr>
                <a:srgbClr val="E1261C"/>
              </a:buClr>
              <a:buFont typeface="Arial"/>
              <a:buChar char="•"/>
              <a:defRPr>
                <a:solidFill>
                  <a:schemeClr val="tx1"/>
                </a:solidFill>
                <a:latin typeface="Franklin Gothic Book"/>
                <a:cs typeface="Franklin Gothic Book"/>
              </a:defRPr>
            </a:lvl2pPr>
            <a:lvl3pPr>
              <a:buClr>
                <a:srgbClr val="E1261C"/>
              </a:buClr>
              <a:buFont typeface="Arial"/>
              <a:buChar char="•"/>
              <a:defRPr>
                <a:solidFill>
                  <a:schemeClr val="tx1"/>
                </a:solidFill>
                <a:latin typeface="Franklin Gothic Book"/>
                <a:cs typeface="Franklin Gothic Book"/>
              </a:defRPr>
            </a:lvl3pPr>
            <a:lvl4pPr>
              <a:buClr>
                <a:srgbClr val="E1261C"/>
              </a:buClr>
              <a:buFont typeface="Arial"/>
              <a:buChar char="•"/>
              <a:defRPr>
                <a:solidFill>
                  <a:schemeClr val="tx1"/>
                </a:solidFill>
                <a:latin typeface="Franklin Gothic Book"/>
                <a:cs typeface="Franklin Gothic Book"/>
              </a:defRPr>
            </a:lvl4pPr>
            <a:lvl5pPr>
              <a:buClr>
                <a:srgbClr val="E1261C"/>
              </a:buClr>
              <a:buFont typeface="Arial"/>
              <a:buChar char="•"/>
              <a:defRPr>
                <a:solidFill>
                  <a:schemeClr val="tx1"/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899578" y="6476935"/>
            <a:ext cx="77511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Out of Home Advertising Association of America 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203" y="6505895"/>
            <a:ext cx="319375" cy="204073"/>
          </a:xfrm>
          <a:prstGeom prst="rect">
            <a:avLst/>
          </a:prstGeom>
        </p:spPr>
      </p:pic>
      <p:sp>
        <p:nvSpPr>
          <p:cNvPr id="12" name="Slide Number Placeholder 13">
            <a:extLst>
              <a:ext uri="{FF2B5EF4-FFF2-40B4-BE49-F238E27FC236}">
                <a16:creationId xmlns:a16="http://schemas.microsoft.com/office/drawing/2014/main" id="{03D3296F-3D20-4586-B1FF-DE9F34D9AD7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91115" y="6488903"/>
            <a:ext cx="418012" cy="258839"/>
          </a:xfrm>
          <a:prstGeom prst="rect">
            <a:avLst/>
          </a:prstGeom>
        </p:spPr>
        <p:txBody>
          <a:bodyPr/>
          <a:lstStyle>
            <a:lvl1pPr>
              <a:defRPr sz="900" b="1">
                <a:solidFill>
                  <a:srgbClr val="FFFFFF"/>
                </a:solidFill>
                <a:latin typeface="Franklin Gothic heavy"/>
                <a:cs typeface="Franklin Gothic heavy"/>
              </a:defRPr>
            </a:lvl1pPr>
          </a:lstStyle>
          <a:p>
            <a:fld id="{D34DACC3-9742-4940-92E6-4CAB853A32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845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41113" y="3430528"/>
            <a:ext cx="5608320" cy="40011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chemeClr val="bg1"/>
                </a:solidFill>
                <a:latin typeface="Franklin Gothic Medium"/>
                <a:cs typeface="Franklin Gothic Medium"/>
              </a:defRPr>
            </a:lvl1pPr>
          </a:lstStyle>
          <a:p>
            <a:r>
              <a:rPr lang="en-US" b="0">
                <a:solidFill>
                  <a:schemeClr val="bg1"/>
                </a:solidFill>
                <a:latin typeface="Franklin Gothic Medium" charset="0"/>
                <a:ea typeface="Franklin Gothic Medium" charset="0"/>
                <a:cs typeface="Franklin Gothic Medium" charset="0"/>
              </a:rPr>
              <a:t>Section heading 1</a:t>
            </a:r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457" y="4998298"/>
            <a:ext cx="1284978" cy="82107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41113" y="3430528"/>
            <a:ext cx="5608320" cy="40011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chemeClr val="bg1"/>
                </a:solidFill>
                <a:latin typeface="Franklin Gothic Medium"/>
                <a:cs typeface="Franklin Gothic Medium"/>
              </a:defRPr>
            </a:lvl1pPr>
          </a:lstStyle>
          <a:p>
            <a:r>
              <a:rPr lang="en-US" b="0">
                <a:solidFill>
                  <a:schemeClr val="bg1"/>
                </a:solidFill>
                <a:latin typeface="Franklin Gothic Medium" charset="0"/>
                <a:ea typeface="Franklin Gothic Medium" charset="0"/>
                <a:cs typeface="Franklin Gothic Medium" charset="0"/>
              </a:rPr>
              <a:t>Section heading 1</a:t>
            </a:r>
            <a:endParaRPr lang="en-US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9028140" y="3429000"/>
            <a:ext cx="2059218" cy="2390369"/>
            <a:chOff x="4853377" y="1882494"/>
            <a:chExt cx="2981583" cy="3461061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9525" y="4154711"/>
              <a:ext cx="1860545" cy="1188844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700000">
              <a:off x="4517526" y="2233293"/>
              <a:ext cx="1860545" cy="1188844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6310265" y="2218345"/>
              <a:ext cx="1860545" cy="11888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23803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41113" y="3430528"/>
            <a:ext cx="5608320" cy="40011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chemeClr val="bg1"/>
                </a:solidFill>
                <a:latin typeface="Franklin Gothic Medium"/>
                <a:cs typeface="Franklin Gothic Medium"/>
              </a:defRPr>
            </a:lvl1pPr>
          </a:lstStyle>
          <a:p>
            <a:r>
              <a:rPr lang="en-US" b="0">
                <a:solidFill>
                  <a:schemeClr val="bg1"/>
                </a:solidFill>
                <a:latin typeface="Franklin Gothic Medium" charset="0"/>
                <a:ea typeface="Franklin Gothic Medium" charset="0"/>
                <a:cs typeface="Franklin Gothic Medium" charset="0"/>
              </a:rPr>
              <a:t>Section heading 2</a:t>
            </a:r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 rot="16200000">
            <a:off x="8859648" y="3429001"/>
            <a:ext cx="2059218" cy="2390369"/>
            <a:chOff x="4853377" y="1882494"/>
            <a:chExt cx="2981583" cy="3461061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9525" y="4154711"/>
              <a:ext cx="1860545" cy="1188844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700000">
              <a:off x="4517526" y="2233293"/>
              <a:ext cx="1860545" cy="118884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6310265" y="2218345"/>
              <a:ext cx="1860545" cy="1188844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41113" y="3430528"/>
            <a:ext cx="5608320" cy="40011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chemeClr val="bg1"/>
                </a:solidFill>
                <a:latin typeface="Franklin Gothic Medium"/>
                <a:cs typeface="Franklin Gothic Medium"/>
              </a:defRPr>
            </a:lvl1pPr>
          </a:lstStyle>
          <a:p>
            <a:r>
              <a:rPr lang="en-US" b="0">
                <a:solidFill>
                  <a:schemeClr val="bg1"/>
                </a:solidFill>
                <a:latin typeface="Franklin Gothic Medium" charset="0"/>
                <a:ea typeface="Franklin Gothic Medium" charset="0"/>
                <a:cs typeface="Franklin Gothic Medium" charset="0"/>
              </a:rPr>
              <a:t>Section heading 3</a:t>
            </a:r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 rot="10800000">
            <a:off x="8787857" y="3429000"/>
            <a:ext cx="2059218" cy="2390369"/>
            <a:chOff x="4853377" y="1882494"/>
            <a:chExt cx="2981583" cy="3461061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9525" y="4154711"/>
              <a:ext cx="1860545" cy="1188844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700000">
              <a:off x="4517526" y="2233293"/>
              <a:ext cx="1860545" cy="1188844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6310265" y="2218345"/>
              <a:ext cx="1860545" cy="1188844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vidual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/>
          <p:cNvGrpSpPr/>
          <p:nvPr userDrawn="1"/>
        </p:nvGrpSpPr>
        <p:grpSpPr>
          <a:xfrm>
            <a:off x="0" y="1"/>
            <a:ext cx="12192001" cy="1155292"/>
            <a:chOff x="0" y="1"/>
            <a:chExt cx="12192001" cy="1155292"/>
          </a:xfrm>
        </p:grpSpPr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>
              <a:alphaModFix amt="1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b="83155"/>
            <a:stretch/>
          </p:blipFill>
          <p:spPr>
            <a:xfrm>
              <a:off x="0" y="1"/>
              <a:ext cx="9144000" cy="1155292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>
              <a:alphaModFix amt="1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805" r="27862" b="83180"/>
            <a:stretch/>
          </p:blipFill>
          <p:spPr>
            <a:xfrm>
              <a:off x="9144001" y="1788"/>
              <a:ext cx="3048000" cy="1153503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 userDrawn="1"/>
        </p:nvSpPr>
        <p:spPr>
          <a:xfrm>
            <a:off x="0" y="1155292"/>
            <a:ext cx="12192000" cy="571064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358270"/>
            <a:ext cx="12192000" cy="4997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1113" y="365760"/>
            <a:ext cx="11216640" cy="400110"/>
          </a:xfrm>
          <a:prstGeom prst="rect">
            <a:avLst/>
          </a:prstGeom>
        </p:spPr>
        <p:txBody>
          <a:bodyPr anchor="t" anchorCtr="0"/>
          <a:lstStyle>
            <a:lvl1pPr>
              <a:defRPr b="0">
                <a:solidFill>
                  <a:schemeClr val="tx2"/>
                </a:solidFill>
                <a:latin typeface="Franklin Gothic Medium"/>
                <a:cs typeface="Franklin Gothic Medium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ounded Rectangle 8"/>
          <p:cNvSpPr/>
          <p:nvPr userDrawn="1"/>
        </p:nvSpPr>
        <p:spPr>
          <a:xfrm>
            <a:off x="400051" y="1514476"/>
            <a:ext cx="11430000" cy="4557712"/>
          </a:xfrm>
          <a:prstGeom prst="roundRect">
            <a:avLst/>
          </a:prstGeom>
          <a:noFill/>
          <a:ln w="3175">
            <a:solidFill>
              <a:srgbClr val="B2B3B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99578" y="6476935"/>
            <a:ext cx="77511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Out of Home Advertising Association of America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203" y="6505895"/>
            <a:ext cx="319375" cy="204073"/>
          </a:xfrm>
          <a:prstGeom prst="rect">
            <a:avLst/>
          </a:prstGeom>
        </p:spPr>
      </p:pic>
      <p:sp>
        <p:nvSpPr>
          <p:cNvPr id="13" name="Slide Number Placeholder 13">
            <a:extLst>
              <a:ext uri="{FF2B5EF4-FFF2-40B4-BE49-F238E27FC236}">
                <a16:creationId xmlns:a16="http://schemas.microsoft.com/office/drawing/2014/main" id="{F3F0B876-5771-47AF-A4D0-ADD8783DA1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91115" y="6488903"/>
            <a:ext cx="418012" cy="258839"/>
          </a:xfrm>
          <a:prstGeom prst="rect">
            <a:avLst/>
          </a:prstGeom>
        </p:spPr>
        <p:txBody>
          <a:bodyPr/>
          <a:lstStyle>
            <a:lvl1pPr>
              <a:defRPr sz="900" b="1">
                <a:solidFill>
                  <a:srgbClr val="FFFFFF"/>
                </a:solidFill>
                <a:latin typeface="Franklin Gothic heavy"/>
                <a:cs typeface="Franklin Gothic heavy"/>
              </a:defRPr>
            </a:lvl1pPr>
          </a:lstStyle>
          <a:p>
            <a:fld id="{D34DACC3-9742-4940-92E6-4CAB853A321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vidual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/>
          <p:cNvGrpSpPr/>
          <p:nvPr userDrawn="1"/>
        </p:nvGrpSpPr>
        <p:grpSpPr>
          <a:xfrm>
            <a:off x="0" y="1"/>
            <a:ext cx="12192001" cy="1155292"/>
            <a:chOff x="0" y="1"/>
            <a:chExt cx="12192001" cy="1155292"/>
          </a:xfrm>
        </p:grpSpPr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>
              <a:alphaModFix amt="1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b="83155"/>
            <a:stretch/>
          </p:blipFill>
          <p:spPr>
            <a:xfrm>
              <a:off x="0" y="1"/>
              <a:ext cx="9144000" cy="1155292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>
              <a:alphaModFix amt="1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805" r="27862" b="83180"/>
            <a:stretch/>
          </p:blipFill>
          <p:spPr>
            <a:xfrm>
              <a:off x="9144001" y="1788"/>
              <a:ext cx="3048000" cy="1153503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 userDrawn="1"/>
        </p:nvSpPr>
        <p:spPr>
          <a:xfrm>
            <a:off x="0" y="1155292"/>
            <a:ext cx="12192000" cy="571064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358270"/>
            <a:ext cx="12192000" cy="4997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1113" y="365760"/>
            <a:ext cx="11216640" cy="400110"/>
          </a:xfrm>
          <a:prstGeom prst="rect">
            <a:avLst/>
          </a:prstGeom>
        </p:spPr>
        <p:txBody>
          <a:bodyPr anchor="t" anchorCtr="0"/>
          <a:lstStyle>
            <a:lvl1pPr>
              <a:defRPr b="0">
                <a:solidFill>
                  <a:schemeClr val="tx2"/>
                </a:solidFill>
                <a:latin typeface="Franklin Gothic Medium"/>
                <a:cs typeface="Franklin Gothic Medium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ounded Rectangle 8"/>
          <p:cNvSpPr/>
          <p:nvPr userDrawn="1"/>
        </p:nvSpPr>
        <p:spPr>
          <a:xfrm>
            <a:off x="400051" y="1514476"/>
            <a:ext cx="11430000" cy="4557712"/>
          </a:xfrm>
          <a:prstGeom prst="roundRect">
            <a:avLst/>
          </a:prstGeom>
          <a:noFill/>
          <a:ln w="3175">
            <a:solidFill>
              <a:srgbClr val="B2B3B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99578" y="6476935"/>
            <a:ext cx="77511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Out of Home Advertising Association of America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203" y="6505895"/>
            <a:ext cx="319375" cy="204073"/>
          </a:xfrm>
          <a:prstGeom prst="rect">
            <a:avLst/>
          </a:prstGeom>
        </p:spPr>
      </p:pic>
      <p:sp>
        <p:nvSpPr>
          <p:cNvPr id="13" name="Slide Number Placeholder 13">
            <a:extLst>
              <a:ext uri="{FF2B5EF4-FFF2-40B4-BE49-F238E27FC236}">
                <a16:creationId xmlns:a16="http://schemas.microsoft.com/office/drawing/2014/main" id="{CCE4D3B3-BB8B-4748-B23A-34CF51A4A2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91115" y="6488903"/>
            <a:ext cx="418012" cy="258839"/>
          </a:xfrm>
          <a:prstGeom prst="rect">
            <a:avLst/>
          </a:prstGeom>
        </p:spPr>
        <p:txBody>
          <a:bodyPr/>
          <a:lstStyle>
            <a:lvl1pPr>
              <a:defRPr sz="900" b="1">
                <a:solidFill>
                  <a:srgbClr val="FFFFFF"/>
                </a:solidFill>
                <a:latin typeface="Franklin Gothic heavy"/>
                <a:cs typeface="Franklin Gothic heavy"/>
              </a:defRPr>
            </a:lvl1pPr>
          </a:lstStyle>
          <a:p>
            <a:fld id="{D34DACC3-9742-4940-92E6-4CAB853A32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1452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298" r:id="rId1"/>
    <p:sldLayoutId id="2147484299" r:id="rId2"/>
    <p:sldLayoutId id="2147484300" r:id="rId3"/>
    <p:sldLayoutId id="2147484301" r:id="rId4"/>
    <p:sldLayoutId id="2147484302" r:id="rId5"/>
    <p:sldLayoutId id="2147484303" r:id="rId6"/>
    <p:sldLayoutId id="2147484304" r:id="rId7"/>
    <p:sldLayoutId id="2147484305" r:id="rId8"/>
    <p:sldLayoutId id="2147484306" r:id="rId9"/>
    <p:sldLayoutId id="2147484307" r:id="rId10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600" b="1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880" indent="-182880" algn="l" defTabSz="457200" rtl="0" eaLnBrk="1" latinLnBrk="0" hangingPunct="1">
        <a:spcBef>
          <a:spcPts val="100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5760" indent="-179388" algn="l" defTabSz="457200" rtl="0" eaLnBrk="1" latinLnBrk="0" hangingPunct="1">
        <a:spcBef>
          <a:spcPts val="600"/>
        </a:spcBef>
        <a:buClr>
          <a:srgbClr val="565A5C"/>
        </a:buClr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8640" indent="-182880" algn="l" defTabSz="457200" rtl="0" eaLnBrk="1" latinLnBrk="0" hangingPunct="1">
        <a:spcBef>
          <a:spcPts val="400"/>
        </a:spcBef>
        <a:buClr>
          <a:schemeClr val="tx1"/>
        </a:buClr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31520" indent="-182880" algn="l" defTabSz="457200" rtl="0" eaLnBrk="1" latinLnBrk="0" hangingPunct="1">
        <a:spcBef>
          <a:spcPts val="300"/>
        </a:spcBef>
        <a:buClr>
          <a:schemeClr val="tx1"/>
        </a:buClr>
        <a:buFont typeface="Arial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14400" indent="-182880" algn="l" defTabSz="457200" rtl="0" eaLnBrk="1" latinLnBrk="0" hangingPunct="1">
        <a:spcBef>
          <a:spcPts val="300"/>
        </a:spcBef>
        <a:buClr>
          <a:schemeClr val="tx1"/>
        </a:buClr>
        <a:buFont typeface="Arial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4077DAA-D7F4-4586-A631-8B9743350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01993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4077DAA-D7F4-4586-A631-8B9743350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8A5499-3C11-4CAB-AC37-D0030E7524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83802"/>
            <a:ext cx="10668000" cy="3877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7EFA7-51A4-4793-A7F1-9122B0D9DFD3}"/>
              </a:ext>
            </a:extLst>
          </p:cNvPr>
          <p:cNvSpPr/>
          <p:nvPr userDrawn="1"/>
        </p:nvSpPr>
        <p:spPr>
          <a:xfrm>
            <a:off x="0" y="1"/>
            <a:ext cx="609600" cy="6857999"/>
          </a:xfrm>
          <a:prstGeom prst="rect">
            <a:avLst/>
          </a:prstGeom>
          <a:solidFill>
            <a:srgbClr val="5B4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99064613-DACE-4BB9-8679-BC43C5F073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1668463"/>
            <a:ext cx="10668000" cy="1077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1FF139C-88AA-4D7F-AAA9-D02CFF2C7C5C}"/>
              </a:ext>
            </a:extLst>
          </p:cNvPr>
          <p:cNvSpPr txBox="1"/>
          <p:nvPr userDrawn="1"/>
        </p:nvSpPr>
        <p:spPr>
          <a:xfrm rot="16200000">
            <a:off x="11119572" y="5513196"/>
            <a:ext cx="1858946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l"/>
            <a:r>
              <a:rPr lang="en-HK" sz="600" b="0" i="0" kern="120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ediaLink's</a:t>
            </a:r>
            <a:r>
              <a:rPr lang="en-HK" sz="600" b="0" i="0" kern="120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Confidential Information</a:t>
            </a:r>
            <a:endParaRPr lang="en-US" sz="60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7D71F01-0F7B-4A91-881E-9BCFD96DBC69}"/>
              </a:ext>
            </a:extLst>
          </p:cNvPr>
          <p:cNvSpPr txBox="1"/>
          <p:nvPr userDrawn="1"/>
        </p:nvSpPr>
        <p:spPr>
          <a:xfrm>
            <a:off x="11704320" y="6592014"/>
            <a:ext cx="198120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l"/>
            <a:fld id="{E492F3D6-84B5-4872-9E65-939A30BC4082}" type="slidenum">
              <a:rPr lang="en-HK" sz="800" b="0" i="0" kern="1200" smtClean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‹#›</a:t>
            </a:fld>
            <a:endParaRPr lang="en-US" sz="80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FFC932-E163-421F-BBB2-7111D2D4B812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96850" y="6489700"/>
            <a:ext cx="2159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960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70" r:id="rId2"/>
    <p:sldLayoutId id="2147484107" r:id="rId3"/>
    <p:sldLayoutId id="2147483824" r:id="rId4"/>
    <p:sldLayoutId id="2147483985" r:id="rId5"/>
    <p:sldLayoutId id="2147483794" r:id="rId6"/>
    <p:sldLayoutId id="2147483896" r:id="rId7"/>
    <p:sldLayoutId id="2147484295" r:id="rId8"/>
    <p:sldLayoutId id="2147483775" r:id="rId9"/>
    <p:sldLayoutId id="2147484055" r:id="rId10"/>
    <p:sldLayoutId id="2147483705" r:id="rId11"/>
    <p:sldLayoutId id="214748429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Font typeface="Arial" panose="020B0604020202020204" pitchFamily="34" charset="0"/>
        <a:buNone/>
        <a:defRPr sz="2800" b="0" i="0" kern="1200" cap="none" spc="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71450" indent="-171450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344488" indent="-171450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566738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98513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Tahoma" panose="020B060403050404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600200" indent="0" algn="l" defTabSz="914400" rtl="0" eaLnBrk="1" latinLnBrk="0" hangingPunct="1">
        <a:lnSpc>
          <a:spcPct val="90000"/>
        </a:lnSpc>
        <a:spcBef>
          <a:spcPts val="500"/>
        </a:spcBef>
        <a:buFont typeface="Tahoma" panose="020B060403050404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Tahoma" panose="020B060403050404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2057400" indent="0" algn="l" defTabSz="914400" rtl="0" eaLnBrk="1" latinLnBrk="0" hangingPunct="1">
        <a:lnSpc>
          <a:spcPct val="90000"/>
        </a:lnSpc>
        <a:spcBef>
          <a:spcPts val="500"/>
        </a:spcBef>
        <a:buFont typeface="Tahoma" panose="020B060403050404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3" pos="384">
          <p15:clr>
            <a:srgbClr val="F26B43"/>
          </p15:clr>
        </p15:guide>
        <p15:guide id="8" pos="3840">
          <p15:clr>
            <a:srgbClr val="F26B43"/>
          </p15:clr>
        </p15:guide>
        <p15:guide id="26" pos="7296">
          <p15:clr>
            <a:srgbClr val="F26B43"/>
          </p15:clr>
        </p15:guide>
        <p15:guide id="38" orient="horz" pos="2160">
          <p15:clr>
            <a:srgbClr val="F26B43"/>
          </p15:clr>
        </p15:guide>
        <p15:guide id="40" orient="horz" pos="4238" userDrawn="1">
          <p15:clr>
            <a:srgbClr val="F26B43"/>
          </p15:clr>
        </p15:guide>
        <p15:guide id="41" pos="576">
          <p15:clr>
            <a:srgbClr val="F26B43"/>
          </p15:clr>
        </p15:guide>
        <p15:guide id="42" orient="horz" pos="1051">
          <p15:clr>
            <a:srgbClr val="F26B43"/>
          </p15:clr>
        </p15:guide>
        <p15:guide id="43" orient="horz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eg"/><Relationship Id="rId4" Type="http://schemas.openxmlformats.org/officeDocument/2006/relationships/image" Target="../media/image2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g"/><Relationship Id="rId4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g"/><Relationship Id="rId4" Type="http://schemas.openxmlformats.org/officeDocument/2006/relationships/image" Target="../media/image1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cid:image003.jpg@01D8D4A2.0F5AD0B0" TargetMode="Externa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1183745" y="4635499"/>
            <a:ext cx="9411683" cy="492443"/>
          </a:xfrm>
          <a:prstGeom prst="rect">
            <a:avLst/>
          </a:prstGeom>
        </p:spPr>
        <p:txBody>
          <a:bodyPr/>
          <a:lstStyle/>
          <a:p>
            <a:r>
              <a:rPr lang="en-US" sz="3200" dirty="0">
                <a:latin typeface="Amasis MT Pro" panose="02040504050005020304" pitchFamily="18" charset="0"/>
              </a:rPr>
              <a:t>Government Affairs – Webinar </a:t>
            </a:r>
          </a:p>
        </p:txBody>
      </p:sp>
      <p:sp>
        <p:nvSpPr>
          <p:cNvPr id="3" name="Google Shape;92;p14">
            <a:extLst>
              <a:ext uri="{FF2B5EF4-FFF2-40B4-BE49-F238E27FC236}">
                <a16:creationId xmlns:a16="http://schemas.microsoft.com/office/drawing/2014/main" id="{A69DD75C-02EC-4492-8B1B-033DF5D4189E}"/>
              </a:ext>
            </a:extLst>
          </p:cNvPr>
          <p:cNvSpPr txBox="1">
            <a:spLocks/>
          </p:cNvSpPr>
          <p:nvPr/>
        </p:nvSpPr>
        <p:spPr>
          <a:xfrm>
            <a:off x="1070537" y="5193410"/>
            <a:ext cx="10250800" cy="721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565A5C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500"/>
              </a:lnSpc>
              <a:buNone/>
            </a:pPr>
            <a:r>
              <a:rPr lang="en-US" sz="2400" dirty="0">
                <a:solidFill>
                  <a:schemeClr val="bg1"/>
                </a:solidFill>
                <a:latin typeface="Amasis MT Pro" panose="02040504050005020304" pitchFamily="18" charset="0"/>
              </a:rPr>
              <a:t>February 24, 2026</a:t>
            </a:r>
          </a:p>
        </p:txBody>
      </p:sp>
    </p:spTree>
    <p:extLst>
      <p:ext uri="{BB962C8B-B14F-4D97-AF65-F5344CB8AC3E}">
        <p14:creationId xmlns:p14="http://schemas.microsoft.com/office/powerpoint/2010/main" val="3184010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D8359-5D9A-9262-8347-EAE0ABDDF0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82314-8A70-3707-64E1-D5D0A21E6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3D463-2FF9-9849-CEB7-2C7C697166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4DACC3-9742-4940-92E6-4CAB853A321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2E24F2B-822B-2D43-966E-ED22406995CB}"/>
              </a:ext>
            </a:extLst>
          </p:cNvPr>
          <p:cNvSpPr txBox="1">
            <a:spLocks/>
          </p:cNvSpPr>
          <p:nvPr/>
        </p:nvSpPr>
        <p:spPr>
          <a:xfrm>
            <a:off x="981075" y="1426369"/>
            <a:ext cx="10610040" cy="486131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cs typeface="Arial"/>
              </a:rPr>
              <a:t>	</a:t>
            </a:r>
            <a:r>
              <a:rPr lang="en-US" sz="24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Internal Revenue Code | State – Federal</a:t>
            </a:r>
          </a:p>
          <a:p>
            <a:pPr marL="0" indent="0">
              <a:buNone/>
            </a:pPr>
            <a:endParaRPr lang="en-US" sz="800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</a:t>
            </a:r>
            <a:r>
              <a:rPr lang="en-US" sz="1800" b="1" dirty="0">
                <a:solidFill>
                  <a:srgbClr val="000000"/>
                </a:solidFill>
                <a:latin typeface="Amasis MT Pro" panose="02040504050005020304" pitchFamily="18" charset="0"/>
              </a:rPr>
              <a:t>States May Adopt the Internal Revenue Code (IRC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</a:rPr>
              <a:t>1.	As It’s Amended (Rolling Conformity)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</a:rPr>
              <a:t>	2.	As It Existed on a Specific Date (Static/Fixed-Date Conformity); or</a:t>
            </a:r>
          </a:p>
          <a:p>
            <a:pPr marL="18288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	Selectively Decouple from Specific IRC Provisions.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lvl="1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	Rolling Conformity States – </a:t>
            </a: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</a:rPr>
              <a:t>AK, AL, CO, CT, DC, DE, IA, IL, KS, LA, MA, MI, MS, MO, MT, ND, 		NE, NJ, NM, NY, OK, OR, PA, TN, RI &amp; UT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lvl="1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	Static/Fixed-Date Conformity States – </a:t>
            </a: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</a:rPr>
              <a:t>AR, AZ, CA, FL, GA, HI, ID, IN, KY, MD, ME, NC, NH, SC, 		VA, VT, WI &amp; WV 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lvl="1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	No Corporate Income Tax States – </a:t>
            </a: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</a:rPr>
              <a:t>NV, OH, SD, TX, WA &amp; WY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dirty="0">
              <a:solidFill>
                <a:srgbClr val="000000"/>
              </a:solidFill>
              <a:latin typeface="Amasis MT Pro" panose="02040504050005020304" pitchFamily="18" charset="0"/>
              <a:cs typeface="Arial"/>
            </a:endParaRPr>
          </a:p>
        </p:txBody>
      </p:sp>
      <p:pic>
        <p:nvPicPr>
          <p:cNvPr id="13" name="Picture 12" descr="Senate Republican Conference">
            <a:extLst>
              <a:ext uri="{FF2B5EF4-FFF2-40B4-BE49-F238E27FC236}">
                <a16:creationId xmlns:a16="http://schemas.microsoft.com/office/drawing/2014/main" id="{3096A84F-59A2-D8E7-6FF3-8907FB55BA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0" y="1579612"/>
            <a:ext cx="1878029" cy="187802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6F9A991-EF81-FADC-4E08-B72FEBB866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078" y="1472979"/>
            <a:ext cx="923785" cy="534094"/>
          </a:xfrm>
          <a:prstGeom prst="rect">
            <a:avLst/>
          </a:prstGeom>
        </p:spPr>
      </p:pic>
      <p:pic>
        <p:nvPicPr>
          <p:cNvPr id="6" name="Picture 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0D4CD44E-47FF-9128-630B-E7EF574AA51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6957" y="3857024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3A840ACE-C497-565A-C20C-34B5CC2A3FF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6957" y="4670766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B345EE83-05A6-B858-DFFD-612743240B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6957" y="5484508"/>
            <a:ext cx="306486" cy="3064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160110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33E45D-6123-3278-24D7-7EF0C7676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641EA2-52B8-1CD0-5031-DE5EB029C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2FEBC7-74E0-7DBD-207F-D3DA5AA0EA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4DACC3-9742-4940-92E6-4CAB853A321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82A82CB-4D1A-1000-C968-493548275084}"/>
              </a:ext>
            </a:extLst>
          </p:cNvPr>
          <p:cNvSpPr txBox="1">
            <a:spLocks/>
          </p:cNvSpPr>
          <p:nvPr/>
        </p:nvSpPr>
        <p:spPr>
          <a:xfrm>
            <a:off x="981075" y="1579611"/>
            <a:ext cx="10610040" cy="470806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cs typeface="Arial"/>
              </a:rPr>
              <a:t>	</a:t>
            </a:r>
            <a:r>
              <a:rPr lang="en-US" sz="24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Internal Revenue Code | State – Federal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States are severing state tax code connections to federal changes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</a:t>
            </a: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§ 163(j) Return to EBITDA-Based Interest Limitation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Decoupled States – CT, GA, IA, IN, KS, MI, MO, MS, SC, TN &amp; WI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b="1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§ 168(k) Permanent 100% Bonus Depreciation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Decoupled States – AR, AZ, CA, CT, DC, FL, GA, HI, ID, IL, IN, KY, LA, MA, MD, ME, MI, 		MN, NC, NH, NJ, NY, PA, RI, SC, VT &amp; WI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b="1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§ 168(n) Full Deduction for Qualified Production Property / Certain Structures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Decoupled States – CA, FL, GA, HI, IL, KY, MD, MI &amp; RI</a:t>
            </a:r>
          </a:p>
        </p:txBody>
      </p:sp>
      <p:pic>
        <p:nvPicPr>
          <p:cNvPr id="13" name="Picture 12" descr="Senate Republican Conference">
            <a:extLst>
              <a:ext uri="{FF2B5EF4-FFF2-40B4-BE49-F238E27FC236}">
                <a16:creationId xmlns:a16="http://schemas.microsoft.com/office/drawing/2014/main" id="{054C78EC-3EB5-6542-0C2C-BED3678166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0" y="1579612"/>
            <a:ext cx="1878029" cy="18780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EFBEBB31-2E69-EDEA-9E45-B57D1FAD50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832" y="3780401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D6BF634C-6E10-E64D-3775-056838513D6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832" y="2703406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0F03922C-3E00-439A-B779-56AF8471125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75" y="5125146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324CDDF-C7A7-0FE4-3AFC-55A1D4E72C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3883" y="1580313"/>
            <a:ext cx="923785" cy="534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9110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440866-4FC3-A2E2-5893-6EB76E2BB9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369B5E-C2D5-8EF5-FFDB-958B0554A2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A36E68-FEE2-A5E5-9654-643A0C20C3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4DACC3-9742-4940-92E6-4CAB853A321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4221FDC-1009-A640-048D-E2CE7D862B1E}"/>
              </a:ext>
            </a:extLst>
          </p:cNvPr>
          <p:cNvSpPr txBox="1">
            <a:spLocks/>
          </p:cNvSpPr>
          <p:nvPr/>
        </p:nvSpPr>
        <p:spPr>
          <a:xfrm>
            <a:off x="981075" y="1579611"/>
            <a:ext cx="10610040" cy="470806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cs typeface="Arial"/>
              </a:rPr>
              <a:t>	</a:t>
            </a:r>
            <a:r>
              <a:rPr lang="en-US" sz="24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Internal Revenue Code | State – Federal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States are severing state tax code connections to federal changes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</a:t>
            </a: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§ 174A Domestic Research and Experimental Expenditures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Decoupled States – AL, GA, IN, LA, MD, MI, MS, NJ, RI, TN &amp; WI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b="1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182880" lvl="1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No Tax on Tips &amp; Overtime</a:t>
            </a:r>
          </a:p>
          <a:p>
            <a:pPr marL="365760" lvl="2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b="1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</a:rPr>
              <a:t>Decoupled States – CA, CO, DC, IL, MA, MD, ME, NJ, &amp; NY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b="1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State and Local Tax (SALT) – Cap Increase ($10K to $40K)</a:t>
            </a:r>
          </a:p>
          <a:p>
            <a:pPr marL="365760" lvl="2" indent="0">
              <a:spcBef>
                <a:spcPts val="0"/>
              </a:spcBef>
              <a:buNone/>
            </a:pPr>
            <a:r>
              <a:rPr lang="en-US" sz="1800" b="1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</a:rPr>
              <a:t>Pass Through Entity Tax (PTETJ) workaround states allowed pass-through business entities to pay 	state tax at the entity level and claim a federal deduction. Such states (IL, OR &amp; UT) have flagged the 	need to revisit to PTET structures due to reduced demand for them.</a:t>
            </a:r>
          </a:p>
          <a:p>
            <a:pPr marL="0" indent="0">
              <a:buNone/>
            </a:pPr>
            <a:endParaRPr lang="en-US" dirty="0">
              <a:solidFill>
                <a:srgbClr val="000000"/>
              </a:solidFill>
              <a:latin typeface="Amasis MT Pro" panose="02040504050005020304" pitchFamily="18" charset="0"/>
              <a:cs typeface="Arial"/>
            </a:endParaRPr>
          </a:p>
        </p:txBody>
      </p:sp>
      <p:pic>
        <p:nvPicPr>
          <p:cNvPr id="13" name="Picture 12" descr="Senate Republican Conference">
            <a:extLst>
              <a:ext uri="{FF2B5EF4-FFF2-40B4-BE49-F238E27FC236}">
                <a16:creationId xmlns:a16="http://schemas.microsoft.com/office/drawing/2014/main" id="{CEADC869-1D07-6D6E-FE2F-D0890AD1B2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0" y="1579612"/>
            <a:ext cx="1878029" cy="18780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B594C0A5-9ED1-C188-5A2E-B502B6C0014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832" y="3780401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85ACC679-F67F-B6AA-699A-8223030C63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832" y="2703406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DF7D6955-FC15-C6EE-B9C5-1632247BF3E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832" y="4794185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93A1E9A-7C17-CA6A-11CD-BDE6513BFD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3883" y="1580313"/>
            <a:ext cx="923785" cy="534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013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37EA05-5310-2788-540E-5AC6262D2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919DE-6DE4-00CD-BBD3-3C1DABFB2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255C1F-A18B-7184-1A0D-E557EC0F69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4DACC3-9742-4940-92E6-4CAB853A321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9B72523-E91B-6052-ADF2-1DBC9FD8D5D0}"/>
              </a:ext>
            </a:extLst>
          </p:cNvPr>
          <p:cNvSpPr txBox="1">
            <a:spLocks/>
          </p:cNvSpPr>
          <p:nvPr/>
        </p:nvSpPr>
        <p:spPr>
          <a:xfrm>
            <a:off x="981075" y="1276351"/>
            <a:ext cx="10610040" cy="501132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800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cs typeface="Arial"/>
            </a:endParaRPr>
          </a:p>
          <a:p>
            <a:pPr marL="0" indent="0">
              <a:buNone/>
            </a:pPr>
            <a:r>
              <a:rPr lang="en-US" sz="24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Key Take-Aways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	WFTC – the Act is a very broad and comprehensive new law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	Resources – utilize government &amp; business entity websites</a:t>
            </a:r>
          </a:p>
          <a:p>
            <a:pPr marL="0" indent="0"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	Guidance – follow IRS &amp; Treasury for application, implementation (FAQ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	Tax Advice – engage an advisor, accountant, or consultant to better understand how			the law applies to your family, your company, and your employe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	State &amp; Federal – stay attuned to state legislative actions that might impact the link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		between state and federal taxes</a:t>
            </a:r>
          </a:p>
        </p:txBody>
      </p:sp>
      <p:pic>
        <p:nvPicPr>
          <p:cNvPr id="13" name="Picture 12" descr="Senate Republican Conference">
            <a:extLst>
              <a:ext uri="{FF2B5EF4-FFF2-40B4-BE49-F238E27FC236}">
                <a16:creationId xmlns:a16="http://schemas.microsoft.com/office/drawing/2014/main" id="{4A2B3E3D-0CD1-A820-7C12-3C4F41B864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0" y="1579612"/>
            <a:ext cx="1878029" cy="18780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8F44D34F-70F6-714B-41EB-5CD99DCADC8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188" y="3564154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A09291D4-6ADC-24C2-3634-5CCC1E0CE4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188" y="2353715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1C786037-FEDF-0A88-970E-6C9BF2A6B88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188" y="4171928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E025ACA3-773A-8FA2-0470-CC25731F2A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188" y="5077240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CA428D38-B310-1CE5-54B8-5213BFE1798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188" y="2965328"/>
            <a:ext cx="306486" cy="3064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02581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FF0B2B-B1FB-D3AA-B8B2-20A5E12E79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1D427-514A-98BB-1D16-617A1798A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FCA8A8-537F-E205-0EFA-A21AB97656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4DACC3-9742-4940-92E6-4CAB853A321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4A13D31-00C9-18B6-6490-F1B0CC217C43}"/>
              </a:ext>
            </a:extLst>
          </p:cNvPr>
          <p:cNvSpPr txBox="1">
            <a:spLocks/>
          </p:cNvSpPr>
          <p:nvPr/>
        </p:nvSpPr>
        <p:spPr>
          <a:xfrm>
            <a:off x="981075" y="1266825"/>
            <a:ext cx="10610040" cy="502085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cs typeface="Arial"/>
              </a:rPr>
              <a:t>	</a:t>
            </a:r>
            <a:r>
              <a:rPr lang="en-US" sz="24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Resources &amp; Information</a:t>
            </a:r>
          </a:p>
          <a:p>
            <a:pPr marL="0" indent="0">
              <a:buNone/>
            </a:pPr>
            <a:endParaRPr lang="en-US" sz="800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</a:t>
            </a: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U.S. Department of Treasury	</a:t>
            </a:r>
            <a:r>
              <a:rPr lang="en-US" sz="1400" b="1" dirty="0">
                <a:solidFill>
                  <a:srgbClr val="000000"/>
                </a:solidFill>
                <a:latin typeface="Amasis MT Pro" panose="02040504050005020304" pitchFamily="18" charset="0"/>
              </a:rPr>
              <a:t>| </a:t>
            </a:r>
            <a:r>
              <a:rPr lang="en-US" sz="1400" dirty="0">
                <a:solidFill>
                  <a:srgbClr val="000000"/>
                </a:solidFill>
                <a:latin typeface="Amasis MT Pro" panose="02040504050005020304" pitchFamily="18" charset="0"/>
              </a:rPr>
              <a:t>https://home.treasury.gov/wftc/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Internal Revenue Service </a:t>
            </a: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| </a:t>
            </a:r>
            <a:r>
              <a:rPr lang="en-US" sz="1400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https://www.irs.gov/newsroom/one-big-beautiful-bill-provisions</a:t>
            </a: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  <a:endParaRPr lang="en-US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b="1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U.S. Small Business Administration | </a:t>
            </a:r>
            <a:r>
              <a:rPr lang="en-US" sz="1400" dirty="0">
                <a:solidFill>
                  <a:srgbClr val="000000"/>
                </a:solidFill>
                <a:latin typeface="Amasis MT Pro" panose="02040504050005020304" pitchFamily="18" charset="0"/>
              </a:rPr>
              <a:t>https://www.sba.gov/local-assistance/resource-partners</a:t>
            </a: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</a:rPr>
              <a:t>	</a:t>
            </a:r>
            <a:endParaRPr lang="en-US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b="1" dirty="0">
              <a:solidFill>
                <a:srgbClr val="000000"/>
              </a:solidFill>
              <a:latin typeface="Amasis MT Pro" panose="02040504050005020304" pitchFamily="18" charset="0"/>
              <a:cs typeface="Arial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	U.S. Chamber of Commerce	|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400" b="1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	</a:t>
            </a:r>
            <a:r>
              <a:rPr lang="en-US" sz="1400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https://www.uschamber.com/small-business/navigating-the-new-tax-law-what-small-businesses-need-to-know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b="1" dirty="0">
              <a:solidFill>
                <a:srgbClr val="000000"/>
              </a:solidFill>
              <a:latin typeface="Amasis MT Pro" panose="02040504050005020304" pitchFamily="18" charset="0"/>
              <a:cs typeface="Arial"/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	Tax Foundation	| </a:t>
            </a:r>
            <a:r>
              <a:rPr lang="en-US" sz="1400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https://taxfoundation.org/research/all/federal/one-big-beautiful-bill-act-tax-changes/ </a:t>
            </a:r>
          </a:p>
          <a:p>
            <a:pPr marL="0" indent="0">
              <a:buNone/>
            </a:pPr>
            <a:endParaRPr lang="en-US" sz="800" dirty="0">
              <a:solidFill>
                <a:srgbClr val="000000"/>
              </a:solidFill>
              <a:latin typeface="Amasis MT Pro" panose="02040504050005020304" pitchFamily="18" charset="0"/>
              <a:cs typeface="Arial"/>
            </a:endParaRPr>
          </a:p>
          <a:p>
            <a:pPr marL="0" indent="0">
              <a:buNone/>
            </a:pPr>
            <a:r>
              <a:rPr lang="en-US" sz="1800" b="1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	OAAA Contacts</a:t>
            </a: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:	</a:t>
            </a:r>
            <a:r>
              <a:rPr lang="en-US" sz="1400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Mike Hershey / mhershey@oaaa</a:t>
            </a:r>
            <a:r>
              <a:rPr lang="en-US" sz="140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.org</a:t>
            </a:r>
            <a:r>
              <a:rPr lang="en-US" sz="1400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	</a:t>
            </a:r>
            <a:r>
              <a:rPr lang="en-US" sz="140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| 	Andy </a:t>
            </a:r>
            <a:r>
              <a:rPr lang="en-US" sz="1400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McDonald / amcdonald@oaaa.org</a:t>
            </a:r>
          </a:p>
        </p:txBody>
      </p:sp>
      <p:pic>
        <p:nvPicPr>
          <p:cNvPr id="13" name="Picture 12" descr="Senate Republican Conference">
            <a:extLst>
              <a:ext uri="{FF2B5EF4-FFF2-40B4-BE49-F238E27FC236}">
                <a16:creationId xmlns:a16="http://schemas.microsoft.com/office/drawing/2014/main" id="{2382654E-866A-B13C-CB9F-04397CB9FA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0" y="1579612"/>
            <a:ext cx="1878029" cy="18780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B7B9EA67-B595-6FB1-B76F-3CF477C392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935" y="2620961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2A444A01-3744-4271-57A3-86258EFF10A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935" y="1966763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0B91D08D-CF1F-13D0-681B-AD32CABEDA4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935" y="3320899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8904220C-06D0-66B9-C66E-F553E0932D6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224" y="4020837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0F85B335-AF0D-1BBD-C86F-9399DE648C8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171" y="4923968"/>
            <a:ext cx="306486" cy="3064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2404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7716E1-57FA-E34D-BCDD-24E142057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8813" y="3124200"/>
            <a:ext cx="9760162" cy="847725"/>
          </a:xfrm>
        </p:spPr>
        <p:txBody>
          <a:bodyPr lIns="91440" tIns="45720" rIns="91440" bIns="45720" anchor="t" anchorCtr="0"/>
          <a:lstStyle/>
          <a:p>
            <a:pPr algn="ctr"/>
            <a:r>
              <a:rPr lang="en-US" sz="3200" dirty="0">
                <a:latin typeface="Amasis MT Pro" panose="02040504050005020304" pitchFamily="18" charset="0"/>
              </a:rPr>
              <a:t>What You Need to Know – New Federal Tax Law</a:t>
            </a:r>
            <a:br>
              <a:rPr lang="en-US" sz="3200" dirty="0">
                <a:latin typeface="Amasis MT Pro" panose="02040504050005020304" pitchFamily="18" charset="0"/>
              </a:rPr>
            </a:br>
            <a:endParaRPr lang="en-US" sz="3200" dirty="0">
              <a:latin typeface="Amasis MT Pro" panose="020405040500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0575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F7E2CD-CE76-E91D-2715-C2530075D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957E4-F3A2-1434-2668-A55BA312D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Amasis MT Pro" panose="02040504050005020304" pitchFamily="18" charset="0"/>
              </a:rPr>
              <a:t>Government Affai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ECB54D-1997-4F63-4170-B16A88F1CC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4DACC3-9742-4940-92E6-4CAB853A3218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1" name="Picture 10" descr="Election, us, badge, congress icon ...">
            <a:extLst>
              <a:ext uri="{FF2B5EF4-FFF2-40B4-BE49-F238E27FC236}">
                <a16:creationId xmlns:a16="http://schemas.microsoft.com/office/drawing/2014/main" id="{CF6F6275-7BE6-B19A-0E90-6B596330D7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0797" y="1632718"/>
            <a:ext cx="1103261" cy="11032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 descr="Government, congress, washington, usa ...">
            <a:extLst>
              <a:ext uri="{FF2B5EF4-FFF2-40B4-BE49-F238E27FC236}">
                <a16:creationId xmlns:a16="http://schemas.microsoft.com/office/drawing/2014/main" id="{ED75A868-C104-4F87-B47A-716DB42DE6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942" y="1597819"/>
            <a:ext cx="974694" cy="97469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4FCAA58-B9EB-F179-0C80-8C2A134FE060}"/>
              </a:ext>
            </a:extLst>
          </p:cNvPr>
          <p:cNvSpPr txBox="1"/>
          <p:nvPr/>
        </p:nvSpPr>
        <p:spPr>
          <a:xfrm>
            <a:off x="2453862" y="1707377"/>
            <a:ext cx="7663254" cy="4271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</a:rPr>
              <a:t>What We Hope to Achieve Today </a:t>
            </a:r>
          </a:p>
          <a:p>
            <a:pPr algn="ctr">
              <a:lnSpc>
                <a:spcPct val="150000"/>
              </a:lnSpc>
            </a:pPr>
            <a:endParaRPr lang="en-US" sz="800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</a:endParaRP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Develop a Better Understanding of the Working Families Tax Cuts Act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Individual Tax Provision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Small Business Tax Provision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Corporate Tax Provision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State Decoupling	</a:t>
            </a:r>
          </a:p>
          <a:p>
            <a:pPr>
              <a:lnSpc>
                <a:spcPct val="150000"/>
              </a:lnSpc>
            </a:pPr>
            <a:endParaRPr lang="en-US" sz="800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Introduce you to Rep. Blake Moore (UT)</a:t>
            </a:r>
          </a:p>
          <a:p>
            <a:pPr>
              <a:lnSpc>
                <a:spcPct val="150000"/>
              </a:lnSpc>
            </a:pPr>
            <a:endParaRPr lang="en-US" sz="800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Identify and Direct you to Resources &amp; Materials </a:t>
            </a:r>
          </a:p>
          <a:p>
            <a:pPr>
              <a:lnSpc>
                <a:spcPct val="150000"/>
              </a:lnSpc>
            </a:pPr>
            <a:r>
              <a:rPr lang="en-US" sz="800" dirty="0">
                <a:solidFill>
                  <a:srgbClr val="000000"/>
                </a:solidFill>
                <a:latin typeface="Amasis MT Pro" panose="020405040500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35605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180B30-08C9-5C59-B68A-F62B73F3A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2EFAB-45E1-E260-BC96-C2A8BDA28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171E76-E9A2-061C-E2C8-64C5F012ED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4DACC3-9742-4940-92E6-4CAB853A321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B65121F-CC7C-9EDD-7E91-F0A8A41B7DF6}"/>
              </a:ext>
            </a:extLst>
          </p:cNvPr>
          <p:cNvSpPr txBox="1">
            <a:spLocks/>
          </p:cNvSpPr>
          <p:nvPr/>
        </p:nvSpPr>
        <p:spPr>
          <a:xfrm>
            <a:off x="441113" y="1523999"/>
            <a:ext cx="11381832" cy="476367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cs typeface="Arial"/>
              </a:rPr>
              <a:t>	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</a:t>
            </a:r>
          </a:p>
          <a:p>
            <a:pPr marL="0" indent="0">
              <a:buNone/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WFTC Act is </a:t>
            </a: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major federal tax legislation </a:t>
            </a:r>
          </a:p>
          <a:p>
            <a:pPr marL="0" indent="0">
              <a:buNone/>
            </a:pPr>
            <a:endParaRPr lang="en-US" dirty="0">
              <a:solidFill>
                <a:srgbClr val="000000"/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Sets broad federal tax policy for the next decade</a:t>
            </a: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	</a:t>
            </a: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2017 federal tax law was set to expire Dec. 31, 2025</a:t>
            </a:r>
          </a:p>
          <a:p>
            <a:pPr marL="0" indent="0">
              <a:buNone/>
            </a:pPr>
            <a:endParaRPr lang="en-US" dirty="0">
              <a:solidFill>
                <a:srgbClr val="000000"/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Extends 2017 provisions &amp; enacts new tax policy</a:t>
            </a:r>
          </a:p>
          <a:p>
            <a:pPr marL="0" indent="0">
              <a:buNone/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			</a:t>
            </a:r>
            <a:endParaRPr lang="en-US" sz="1400" dirty="0">
              <a:cs typeface="Arial"/>
            </a:endParaRPr>
          </a:p>
        </p:txBody>
      </p:sp>
      <p:pic>
        <p:nvPicPr>
          <p:cNvPr id="13" name="Picture 12" descr="Senate Republican Conference">
            <a:extLst>
              <a:ext uri="{FF2B5EF4-FFF2-40B4-BE49-F238E27FC236}">
                <a16:creationId xmlns:a16="http://schemas.microsoft.com/office/drawing/2014/main" id="{CC1B5FAF-FC2E-E722-1BEF-1AB28D01B2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14" y="1697227"/>
            <a:ext cx="4069772" cy="40697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41294651-F002-F4A2-329A-6643CCD91CE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069" y="2432209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EEF8950B-4C10-E87D-EE6E-0E187F3717A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069" y="3307883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8B977C85-5672-01D7-EA23-6B2748DDCB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069" y="4183557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D22410EE-0C0F-A064-D1D3-444431E262C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069" y="5058973"/>
            <a:ext cx="306486" cy="3064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24346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F42F32-3E58-D6CD-E919-508EDC707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59562-DF48-4504-582B-E58115185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A4BE53-86A5-E3F6-940B-E62A299F6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4DACC3-9742-4940-92E6-4CAB853A321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CEE0E4E-DCEF-DD8A-DA58-5655CC67342F}"/>
              </a:ext>
            </a:extLst>
          </p:cNvPr>
          <p:cNvSpPr txBox="1">
            <a:spLocks/>
          </p:cNvSpPr>
          <p:nvPr/>
        </p:nvSpPr>
        <p:spPr>
          <a:xfrm>
            <a:off x="441113" y="1523999"/>
            <a:ext cx="11381832" cy="476367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cs typeface="Arial"/>
              </a:rPr>
              <a:t>	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</a:t>
            </a:r>
          </a:p>
          <a:p>
            <a:pPr marL="0" indent="0">
              <a:buNone/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</a:t>
            </a: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 Introduced in the U.S. House – May 2025</a:t>
            </a:r>
          </a:p>
          <a:p>
            <a:pPr marL="0" indent="0">
              <a:buNone/>
            </a:pPr>
            <a:endParaRPr lang="en-US" dirty="0">
              <a:solidFill>
                <a:srgbClr val="000000"/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 Final passage by Congress – July 3, 2025</a:t>
            </a: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	</a:t>
            </a: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 Signed by the President – July 4, 2025</a:t>
            </a:r>
          </a:p>
          <a:p>
            <a:pPr marL="0" indent="0">
              <a:buNone/>
            </a:pPr>
            <a:endParaRPr lang="en-US" dirty="0">
              <a:solidFill>
                <a:srgbClr val="000000"/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 Effective Date January 1, 2026</a:t>
            </a:r>
          </a:p>
          <a:p>
            <a:pPr marL="0" indent="0">
              <a:buNone/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										</a:t>
            </a:r>
            <a:endParaRPr lang="en-US" sz="1400" dirty="0">
              <a:cs typeface="Arial"/>
            </a:endParaRPr>
          </a:p>
        </p:txBody>
      </p:sp>
      <p:pic>
        <p:nvPicPr>
          <p:cNvPr id="13" name="Picture 12" descr="Senate Republican Conference">
            <a:extLst>
              <a:ext uri="{FF2B5EF4-FFF2-40B4-BE49-F238E27FC236}">
                <a16:creationId xmlns:a16="http://schemas.microsoft.com/office/drawing/2014/main" id="{4827F990-4F06-C71E-17A0-182D9C72B8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14" y="1697227"/>
            <a:ext cx="4069772" cy="40697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A2A2BF12-2BFA-CCF0-05D6-DA8991C3679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069" y="2432209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F816503B-B467-B887-3E91-AB7EEA1851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069" y="3307883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8ABAD1CD-D79D-8589-13CA-AE2B53E916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069" y="4183557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D6CD70DE-9A52-49C5-C1F1-5763D625395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069" y="5058973"/>
            <a:ext cx="306486" cy="3064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10869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7F144B-4298-757C-2170-4233C6B09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E6EDA-7846-8105-7126-865F8CB2E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113" y="365760"/>
            <a:ext cx="11216640" cy="400110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98598C7-B1AC-B426-22C1-1CE71812F7AE}"/>
              </a:ext>
            </a:extLst>
          </p:cNvPr>
          <p:cNvSpPr txBox="1">
            <a:spLocks/>
          </p:cNvSpPr>
          <p:nvPr/>
        </p:nvSpPr>
        <p:spPr>
          <a:xfrm>
            <a:off x="441113" y="1814944"/>
            <a:ext cx="5513070" cy="4357255"/>
          </a:xfrm>
          <a:prstGeom prst="rect">
            <a:avLst/>
          </a:prstGeom>
        </p:spPr>
        <p:txBody>
          <a:bodyPr lIns="91440" tIns="45720" rIns="91440" bIns="45720">
            <a:normAutofit/>
          </a:bodyPr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buNone/>
            </a:pPr>
            <a:r>
              <a:rPr lang="en-US" sz="2600" b="1" kern="1200" dirty="0">
                <a:solidFill>
                  <a:srgbClr val="000000"/>
                </a:solidFill>
                <a:latin typeface="Amasis MT Pro" panose="02040504050005020304" pitchFamily="18" charset="0"/>
              </a:rPr>
              <a:t>Congressman Blake Moore</a:t>
            </a:r>
          </a:p>
          <a:p>
            <a:pPr marL="0" indent="0" algn="ctr">
              <a:lnSpc>
                <a:spcPct val="90000"/>
              </a:lnSpc>
              <a:buNone/>
            </a:pPr>
            <a:endParaRPr lang="en-US" sz="400" b="1" kern="1200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indent="0" algn="ctr">
              <a:lnSpc>
                <a:spcPct val="90000"/>
              </a:lnSpc>
              <a:buNone/>
            </a:pPr>
            <a:r>
              <a:rPr lang="en-US" sz="2600" b="1" kern="1200" dirty="0">
                <a:solidFill>
                  <a:srgbClr val="000000"/>
                </a:solidFill>
                <a:latin typeface="Amasis MT Pro" panose="02040504050005020304" pitchFamily="18" charset="0"/>
              </a:rPr>
              <a:t>Utah | 1</a:t>
            </a:r>
            <a:r>
              <a:rPr lang="en-US" sz="2600" b="1" baseline="30000" dirty="0">
                <a:solidFill>
                  <a:srgbClr val="000000"/>
                </a:solidFill>
                <a:latin typeface="Amasis MT Pro" panose="02040504050005020304" pitchFamily="18" charset="0"/>
              </a:rPr>
              <a:t>st</a:t>
            </a:r>
            <a:r>
              <a:rPr lang="en-US" sz="2600" b="1" dirty="0">
                <a:solidFill>
                  <a:srgbClr val="000000"/>
                </a:solidFill>
                <a:latin typeface="Amasis MT Pro" panose="02040504050005020304" pitchFamily="18" charset="0"/>
              </a:rPr>
              <a:t> District </a:t>
            </a:r>
            <a:endParaRPr lang="en-US" sz="2600" b="1" kern="1200" dirty="0">
              <a:solidFill>
                <a:srgbClr val="000000"/>
              </a:solidFill>
              <a:latin typeface="Amasis MT Pro" panose="02040504050005020304" pitchFamily="18" charset="0"/>
            </a:endParaRPr>
          </a:p>
          <a:p>
            <a:pPr marL="0" indent="0">
              <a:lnSpc>
                <a:spcPct val="90000"/>
              </a:lnSpc>
              <a:buNone/>
            </a:pPr>
            <a:endParaRPr lang="en-US" sz="1700" b="1" dirty="0">
              <a:latin typeface="Amasis MT Pro" panose="02040504050005020304" pitchFamily="18" charset="0"/>
            </a:endParaRPr>
          </a:p>
          <a:p>
            <a:pPr>
              <a:lnSpc>
                <a:spcPct val="150000"/>
              </a:lnSpc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b="1" kern="1200" dirty="0">
                <a:solidFill>
                  <a:srgbClr val="000000"/>
                </a:solidFill>
                <a:latin typeface="Amasis MT Pro" panose="02040504050005020304" pitchFamily="18" charset="0"/>
              </a:rPr>
              <a:t> 	</a:t>
            </a:r>
            <a:r>
              <a:rPr lang="en-US" kern="1200" dirty="0">
                <a:solidFill>
                  <a:srgbClr val="000000"/>
                </a:solidFill>
                <a:latin typeface="Amasis MT Pro" panose="02040504050005020304" pitchFamily="18" charset="0"/>
              </a:rPr>
              <a:t>Elected to the U.S. House in 2020</a:t>
            </a:r>
          </a:p>
          <a:p>
            <a:pPr>
              <a:lnSpc>
                <a:spcPct val="150000"/>
              </a:lnSpc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 	Member – Ways &amp; Means Committee</a:t>
            </a:r>
          </a:p>
          <a:p>
            <a:pPr>
              <a:lnSpc>
                <a:spcPct val="150000"/>
              </a:lnSpc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 	Member – House Budget Committee</a:t>
            </a:r>
          </a:p>
          <a:p>
            <a:pPr>
              <a:lnSpc>
                <a:spcPct val="150000"/>
              </a:lnSpc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</a:rPr>
              <a:t> 	Vice Chair – House GOP Conference</a:t>
            </a:r>
            <a:r>
              <a:rPr lang="en-US" sz="1700" kern="1200" dirty="0">
                <a:solidFill>
                  <a:srgbClr val="000000"/>
                </a:solidFill>
              </a:rPr>
              <a:t>			            			</a:t>
            </a:r>
            <a:r>
              <a:rPr lang="en-US" sz="1700" kern="1200" dirty="0"/>
              <a:t>						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BE4A85-0CC6-9F28-74EC-6828FA383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91115" y="6488903"/>
            <a:ext cx="418012" cy="258839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D34DACC3-9742-4940-92E6-4CAB853A3218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pic>
        <p:nvPicPr>
          <p:cNvPr id="3" name="Picture 2" descr="Rep. Blake Moore endorses colleague John Curtis for US Senate | KSL.com">
            <a:extLst>
              <a:ext uri="{FF2B5EF4-FFF2-40B4-BE49-F238E27FC236}">
                <a16:creationId xmlns:a16="http://schemas.microsoft.com/office/drawing/2014/main" id="{EAD676C0-8097-A2C5-125C-5AED392EC7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36" r="16336"/>
          <a:stretch>
            <a:fillRect/>
          </a:stretch>
        </p:blipFill>
        <p:spPr bwMode="auto">
          <a:xfrm>
            <a:off x="6330953" y="1482437"/>
            <a:ext cx="5419934" cy="4494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7195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8393FF-9392-93BD-C8C8-698945ED28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5C491F-7A3F-6524-6632-D21DA29C7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113" y="365760"/>
            <a:ext cx="11216640" cy="400110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0290A42-A602-F74D-A8CC-5FAED6B7F913}"/>
              </a:ext>
            </a:extLst>
          </p:cNvPr>
          <p:cNvSpPr txBox="1">
            <a:spLocks/>
          </p:cNvSpPr>
          <p:nvPr/>
        </p:nvSpPr>
        <p:spPr>
          <a:xfrm>
            <a:off x="984037" y="1329170"/>
            <a:ext cx="9960187" cy="604339"/>
          </a:xfrm>
          <a:prstGeom prst="rect">
            <a:avLst/>
          </a:prstGeom>
        </p:spPr>
        <p:txBody>
          <a:bodyPr lIns="91440" tIns="45720" rIns="91440" bIns="45720">
            <a:normAutofit/>
          </a:bodyPr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buNone/>
            </a:pPr>
            <a:r>
              <a:rPr lang="en-US" sz="2600" b="1" kern="1200" dirty="0">
                <a:solidFill>
                  <a:srgbClr val="000000"/>
                </a:solidFill>
                <a:latin typeface="Amasis MT Pro" panose="02040504050005020304" pitchFamily="18" charset="0"/>
              </a:rPr>
              <a:t>Congressman Blake Moore | Utah </a:t>
            </a:r>
            <a:r>
              <a:rPr lang="en-US" sz="2600" b="1" dirty="0">
                <a:solidFill>
                  <a:srgbClr val="000000"/>
                </a:solidFill>
                <a:latin typeface="Amasis MT Pro" panose="02040504050005020304" pitchFamily="18" charset="0"/>
              </a:rPr>
              <a:t>– </a:t>
            </a:r>
            <a:r>
              <a:rPr lang="en-US" sz="2600" b="1" kern="1200" dirty="0">
                <a:solidFill>
                  <a:srgbClr val="000000"/>
                </a:solidFill>
                <a:latin typeface="Amasis MT Pro" panose="02040504050005020304" pitchFamily="18" charset="0"/>
              </a:rPr>
              <a:t>1</a:t>
            </a:r>
            <a:r>
              <a:rPr lang="en-US" sz="2600" b="1" baseline="30000" dirty="0">
                <a:solidFill>
                  <a:srgbClr val="000000"/>
                </a:solidFill>
                <a:latin typeface="Amasis MT Pro" panose="02040504050005020304" pitchFamily="18" charset="0"/>
              </a:rPr>
              <a:t>st</a:t>
            </a:r>
            <a:r>
              <a:rPr lang="en-US" sz="2600" b="1" dirty="0">
                <a:solidFill>
                  <a:srgbClr val="000000"/>
                </a:solidFill>
                <a:latin typeface="Amasis MT Pro" panose="02040504050005020304" pitchFamily="18" charset="0"/>
              </a:rPr>
              <a:t> District </a:t>
            </a:r>
            <a:endParaRPr lang="en-US" sz="1700" b="1" dirty="0">
              <a:latin typeface="Amasis MT Pro" panose="02040504050005020304" pitchFamily="18" charset="0"/>
            </a:endParaRPr>
          </a:p>
          <a:p>
            <a:pPr>
              <a:lnSpc>
                <a:spcPct val="150000"/>
              </a:lnSpc>
              <a:buClr>
                <a:srgbClr val="000000"/>
              </a:buClr>
              <a:buFont typeface="Courier New" panose="02070309020205020404" pitchFamily="49" charset="0"/>
              <a:buChar char="o"/>
            </a:pPr>
            <a:endParaRPr lang="en-US" sz="1700" kern="1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CD7B9C-493A-B569-1407-DC4C56BC0A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91115" y="6488903"/>
            <a:ext cx="418012" cy="258839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D34DACC3-9742-4940-92E6-4CAB853A3218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pic>
        <p:nvPicPr>
          <p:cNvPr id="6" name="Picture 5" descr="A billboard with a person on it&#10;&#10;Description automatically generated with medium confidence">
            <a:extLst>
              <a:ext uri="{FF2B5EF4-FFF2-40B4-BE49-F238E27FC236}">
                <a16:creationId xmlns:a16="http://schemas.microsoft.com/office/drawing/2014/main" id="{FC565DAE-FF70-6AA0-6050-0BD81AAD48DB}"/>
              </a:ext>
            </a:extLst>
          </p:cNvPr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3882" y="1847784"/>
            <a:ext cx="6584235" cy="43339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6502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F068F6-CE0E-8611-A085-7E03FB7A88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37938-7745-021B-E99D-73AC3DEA0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7B620F-0AF6-959F-5A08-DA3EC4CE26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4DACC3-9742-4940-92E6-4CAB853A321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419445B-F8A9-570E-781F-729200CFB816}"/>
              </a:ext>
            </a:extLst>
          </p:cNvPr>
          <p:cNvSpPr txBox="1">
            <a:spLocks/>
          </p:cNvSpPr>
          <p:nvPr/>
        </p:nvSpPr>
        <p:spPr>
          <a:xfrm>
            <a:off x="981075" y="1246909"/>
            <a:ext cx="10610040" cy="504077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cs typeface="Arial"/>
              </a:rPr>
              <a:t>	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		</a:t>
            </a:r>
          </a:p>
          <a:p>
            <a:pPr marL="0" indent="0">
              <a:buNone/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Federal Tax Rates – Permanent  </a:t>
            </a: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Preserves the 2017 TJCA tax rates 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(effective through 12/31/25)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</a:t>
            </a:r>
          </a:p>
          <a:p>
            <a:pPr marL="0" indent="0">
              <a:buNone/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</a:t>
            </a: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WFTCA preserves 7-tier tax structure</a:t>
            </a:r>
          </a:p>
          <a:p>
            <a:pPr marL="0" indent="0"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</a:t>
            </a: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10% 	|	12%	|	22%	|	24%	|	32%	|	35%	|	37%</a:t>
            </a:r>
          </a:p>
          <a:p>
            <a:pPr marL="0" indent="0"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</a:t>
            </a:r>
          </a:p>
          <a:p>
            <a:pPr marL="0" indent="0">
              <a:buNone/>
            </a:pPr>
            <a:r>
              <a:rPr lang="en-US" b="1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	If WFTCA were not enacted </a:t>
            </a: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(pre-2017 rates)</a:t>
            </a:r>
            <a:endParaRPr lang="en-US" sz="1800" b="1" dirty="0">
              <a:solidFill>
                <a:srgbClr val="000000"/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		10%	|	15%	|	25%	|	28%	|	33%	|	35%	|	39.6%</a:t>
            </a:r>
          </a:p>
        </p:txBody>
      </p:sp>
      <p:pic>
        <p:nvPicPr>
          <p:cNvPr id="13" name="Picture 12" descr="Senate Republican Conference">
            <a:extLst>
              <a:ext uri="{FF2B5EF4-FFF2-40B4-BE49-F238E27FC236}">
                <a16:creationId xmlns:a16="http://schemas.microsoft.com/office/drawing/2014/main" id="{6C98C2D1-F599-F228-1ABB-93D85FCDD3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0" y="1579612"/>
            <a:ext cx="1878029" cy="18780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384A0CC2-0E2E-E7EE-0546-DCC5BFAE7B6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915" y="3429000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7A933B8C-B408-DB0C-BCDE-477AD9D5BB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915" y="2159761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04B59897-3E12-C59F-BAB9-5410CE59D23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915" y="4786128"/>
            <a:ext cx="306486" cy="3064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6219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ABA050-C0E8-6099-AA53-9726106A5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E28C25-2F7C-CCAA-638D-39333E5687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Amasis MT Pro" panose="02040504050005020304" pitchFamily="18" charset="0"/>
              </a:rPr>
              <a:t>Government Affair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B5E593-DEAB-1E6B-1A53-A9709E3F99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4DACC3-9742-4940-92E6-4CAB853A321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52B9A76-4E55-0876-7188-0E96940E739D}"/>
              </a:ext>
            </a:extLst>
          </p:cNvPr>
          <p:cNvSpPr txBox="1">
            <a:spLocks/>
          </p:cNvSpPr>
          <p:nvPr/>
        </p:nvSpPr>
        <p:spPr>
          <a:xfrm>
            <a:off x="981075" y="1257300"/>
            <a:ext cx="10610040" cy="485414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457200" rtl="0" eaLnBrk="1" latinLnBrk="0" hangingPunct="1">
              <a:spcBef>
                <a:spcPts val="1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365760" indent="-179388" algn="l" defTabSz="457200" rtl="0" eaLnBrk="1" latinLnBrk="0" hangingPunct="1">
              <a:spcBef>
                <a:spcPts val="600"/>
              </a:spcBef>
              <a:buClr>
                <a:srgbClr val="E1261C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marL="548640" indent="-182880" algn="l" defTabSz="457200" rtl="0" eaLnBrk="1" latinLnBrk="0" hangingPunct="1">
              <a:spcBef>
                <a:spcPts val="400"/>
              </a:spcBef>
              <a:buClr>
                <a:srgbClr val="E12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rgbClr val="E1261C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Key Small Business Provisions </a:t>
            </a:r>
          </a:p>
          <a:p>
            <a:pPr marL="0" indent="0">
              <a:buNone/>
            </a:pPr>
            <a:endParaRPr lang="en-US" sz="1400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20% Small Business Deduction (QBI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Permanently extends the Qualified Business Income deduction (Section 199A) 						for sole proprietors, LLCs, partnerships, and S corporations</a:t>
            </a:r>
          </a:p>
          <a:p>
            <a:pPr marL="0" indent="0">
              <a:buNone/>
            </a:pPr>
            <a:endParaRPr lang="en-US" sz="800" b="1" dirty="0">
              <a:solidFill>
                <a:schemeClr val="tx1">
                  <a:lumMod val="50000"/>
                </a:schemeClr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100% Full Expensing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</a:t>
            </a: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Allows for immediate deduction of the full cost of investment (permanent)</a:t>
            </a:r>
          </a:p>
          <a:p>
            <a:pPr marL="0" indent="0">
              <a:spcBef>
                <a:spcPts val="0"/>
              </a:spcBef>
              <a:buNone/>
            </a:pPr>
            <a:endParaRPr lang="en-US" sz="800" b="1" dirty="0">
              <a:solidFill>
                <a:srgbClr val="000000"/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800" b="1" dirty="0">
              <a:solidFill>
                <a:srgbClr val="000000"/>
              </a:solidFill>
              <a:latin typeface="Amasis MT Pro" panose="02040504050005020304" pitchFamily="18" charset="0"/>
              <a:ea typeface="Calibri" panose="020F0502020204030204" pitchFamily="34" charset="0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solidFill>
                  <a:srgbClr val="000000"/>
                </a:solidFill>
                <a:latin typeface="Amasis MT Pro" panose="02040504050005020304" pitchFamily="18" charset="0"/>
                <a:ea typeface="Calibri" panose="020F0502020204030204" pitchFamily="34" charset="0"/>
                <a:cs typeface="Arial"/>
              </a:rPr>
              <a:t>	R&amp;D Investment &amp; Expensing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	Allows for immediate deduction of R&amp;D expenses, retroactive to 2022 (permanent)</a:t>
            </a:r>
          </a:p>
          <a:p>
            <a:pPr marL="0" indent="0">
              <a:spcBef>
                <a:spcPts val="0"/>
              </a:spcBef>
              <a:buNone/>
            </a:pPr>
            <a:endParaRPr lang="en-US" sz="800" dirty="0">
              <a:solidFill>
                <a:srgbClr val="000000"/>
              </a:solidFill>
              <a:latin typeface="Amasis MT Pro" panose="02040504050005020304" pitchFamily="18" charset="0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800" dirty="0">
              <a:solidFill>
                <a:srgbClr val="000000"/>
              </a:solidFill>
              <a:latin typeface="Amasis MT Pro" panose="02040504050005020304" pitchFamily="18" charset="0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	</a:t>
            </a:r>
            <a:r>
              <a:rPr lang="en-US" sz="1800" b="1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1099-K Reporting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	Increases the reporting threshold for 1099-NEC &amp; 1099-MISC from $600 to $2,000</a:t>
            </a:r>
          </a:p>
          <a:p>
            <a:pPr marL="0" indent="0">
              <a:spcBef>
                <a:spcPts val="0"/>
              </a:spcBef>
              <a:buNone/>
            </a:pPr>
            <a:endParaRPr lang="en-US" sz="800" dirty="0">
              <a:solidFill>
                <a:srgbClr val="000000"/>
              </a:solidFill>
              <a:latin typeface="Amasis MT Pro" panose="02040504050005020304" pitchFamily="18" charset="0"/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masis MT Pro" panose="02040504050005020304" pitchFamily="18" charset="0"/>
                <a:cs typeface="Arial"/>
              </a:rPr>
              <a:t>	Reinstates (pre-2021) reporting for third-party organizations (200 transactions &amp; $20,000)	</a:t>
            </a:r>
          </a:p>
        </p:txBody>
      </p:sp>
      <p:pic>
        <p:nvPicPr>
          <p:cNvPr id="13" name="Picture 12" descr="Senate Republican Conference">
            <a:extLst>
              <a:ext uri="{FF2B5EF4-FFF2-40B4-BE49-F238E27FC236}">
                <a16:creationId xmlns:a16="http://schemas.microsoft.com/office/drawing/2014/main" id="{FD8245DD-C705-54FC-C34B-D7E73BED57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0" y="1579612"/>
            <a:ext cx="1878029" cy="18780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1147ED40-2318-0285-1541-3893230F64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343" y="3109945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8985424F-F54C-60C1-7247-103EFF1726C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343" y="2060952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1B2A212E-3EAE-DA8A-9964-43F4724328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343" y="3860320"/>
            <a:ext cx="306486" cy="30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170+ House Of Representatives Icon Stock Illustrations, Royalty-Free Vector  Graphics &amp; Clip Art - iStock">
            <a:extLst>
              <a:ext uri="{FF2B5EF4-FFF2-40B4-BE49-F238E27FC236}">
                <a16:creationId xmlns:a16="http://schemas.microsoft.com/office/drawing/2014/main" id="{EB37A082-6A59-78EF-A6F4-4C88914F5F5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343" y="4658236"/>
            <a:ext cx="306486" cy="3064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2761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MS_TEMPLATE_ID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Q6x4RIS2C11WPqYa20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5">
      <a:dk1>
        <a:srgbClr val="60625E"/>
      </a:dk1>
      <a:lt1>
        <a:srgbClr val="FFFFFF"/>
      </a:lt1>
      <a:dk2>
        <a:srgbClr val="E1261C"/>
      </a:dk2>
      <a:lt2>
        <a:srgbClr val="FFFFFF"/>
      </a:lt2>
      <a:accent1>
        <a:srgbClr val="999DA7"/>
      </a:accent1>
      <a:accent2>
        <a:srgbClr val="00476F"/>
      </a:accent2>
      <a:accent3>
        <a:srgbClr val="0081BA"/>
      </a:accent3>
      <a:accent4>
        <a:srgbClr val="4EADCC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Equity">
      <a:majorFont>
        <a:latin typeface="Franklin Gothic Book"/>
        <a:ea typeface=""/>
        <a:cs typeface=""/>
        <a:font script="Grek" typeface="Calibri"/>
        <a:font script="Cyrl" typeface="Calibri"/>
        <a:font script="Jpan" typeface="ＭＳ ゴシック"/>
        <a:font script="Hang" typeface="바탕"/>
        <a:font script="Hans" typeface="幼圆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Perpetua"/>
        <a:ea typeface=""/>
        <a:cs typeface=""/>
        <a:font script="Grek" typeface="Cambria"/>
        <a:font script="Cyrl" typeface="Cambria"/>
        <a:font script="Jpan" typeface="ヒラギノ明朝 Pro W3"/>
        <a:font script="Hang" typeface="맑은 고딕"/>
        <a:font script="Hans" typeface="宋体"/>
        <a:font script="Hant" typeface="新細明體"/>
        <a:font script="Arab" typeface="Times New Roman"/>
        <a:font script="Hebr" typeface="Aharoni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bg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AAA_TemplateOOH16.9" id="{1E60D8D7-E366-4B78-9809-3B6595FECC5D}" vid="{154220BF-E469-41DA-B324-C96DCA2778F7}"/>
    </a:ext>
  </a:extLst>
</a:theme>
</file>

<file path=ppt/theme/theme2.xml><?xml version="1.0" encoding="utf-8"?>
<a:theme xmlns:a="http://schemas.openxmlformats.org/drawingml/2006/main" name="MediaLink Cobalt Base (Default)">
  <a:themeElements>
    <a:clrScheme name="2021 MediaLink Main Colors">
      <a:dk1>
        <a:srgbClr val="000000"/>
      </a:dk1>
      <a:lt1>
        <a:srgbClr val="FFFFFF"/>
      </a:lt1>
      <a:dk2>
        <a:srgbClr val="230F2C"/>
      </a:dk2>
      <a:lt2>
        <a:srgbClr val="E2E2E3"/>
      </a:lt2>
      <a:accent1>
        <a:srgbClr val="5B49FF"/>
      </a:accent1>
      <a:accent2>
        <a:srgbClr val="E23000"/>
      </a:accent2>
      <a:accent3>
        <a:srgbClr val="230F2C"/>
      </a:accent3>
      <a:accent4>
        <a:srgbClr val="FFFFFF"/>
      </a:accent4>
      <a:accent5>
        <a:srgbClr val="85A7FD"/>
      </a:accent5>
      <a:accent6>
        <a:srgbClr val="F97C5D"/>
      </a:accent6>
      <a:hlink>
        <a:srgbClr val="5B49FF"/>
      </a:hlink>
      <a:folHlink>
        <a:srgbClr val="A356C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50000"/>
            </a:schemeClr>
          </a:solidFill>
        </a:ln>
      </a:spPr>
      <a:bodyPr lIns="45720" rIns="45720" rtlCol="0" anchor="ctr"/>
      <a:lstStyle>
        <a:defPPr algn="ctr">
          <a:defRPr sz="12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91440" rIns="91440" bIns="9144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 MediaLink Template.potx" id="{59EA34CA-D291-42AF-9B59-C4CCBD7075DF}" vid="{0455E6FD-1390-4904-858E-7FD26DF5A04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29b85ed-18c3-4aa1-9352-a89c372114b7" xsi:nil="true"/>
    <lcf76f155ced4ddcb4097134ff3c332f xmlns="08496985-b4e7-44f6-a0fb-cf9483876b39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D0B955D17822488E3D6493B9383791" ma:contentTypeVersion="16" ma:contentTypeDescription="Create a new document." ma:contentTypeScope="" ma:versionID="2a4bef5a47a0ec5067cf92c3b2bd2652">
  <xsd:schema xmlns:xsd="http://www.w3.org/2001/XMLSchema" xmlns:xs="http://www.w3.org/2001/XMLSchema" xmlns:p="http://schemas.microsoft.com/office/2006/metadata/properties" xmlns:ns2="08496985-b4e7-44f6-a0fb-cf9483876b39" xmlns:ns3="e29b85ed-18c3-4aa1-9352-a89c372114b7" targetNamespace="http://schemas.microsoft.com/office/2006/metadata/properties" ma:root="true" ma:fieldsID="15ff1a198686ba1378f8650914e3fc0c" ns2:_="" ns3:_="">
    <xsd:import namespace="08496985-b4e7-44f6-a0fb-cf9483876b39"/>
    <xsd:import namespace="e29b85ed-18c3-4aa1-9352-a89c372114b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496985-b4e7-44f6-a0fb-cf9483876b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965c139-1191-4e94-91d1-d1b6c7293a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9b85ed-18c3-4aa1-9352-a89c372114b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a577695-007a-488e-ae47-e5fcc9bb8086}" ma:internalName="TaxCatchAll" ma:showField="CatchAllData" ma:web="e29b85ed-18c3-4aa1-9352-a89c372114b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753DC51-D72C-4389-B887-21468C6D370A}">
  <ds:schemaRefs>
    <ds:schemaRef ds:uri="http://schemas.openxmlformats.org/package/2006/metadata/core-properties"/>
    <ds:schemaRef ds:uri="http://purl.org/dc/dcmitype/"/>
    <ds:schemaRef ds:uri="http://purl.org/dc/terms/"/>
    <ds:schemaRef ds:uri="e29b85ed-18c3-4aa1-9352-a89c372114b7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08496985-b4e7-44f6-a0fb-cf9483876b3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FFD81B5-C389-4F60-80CA-E956A4F7731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929E75-77E0-49AD-B780-B6C1D3AD4E75}">
  <ds:schemaRefs>
    <ds:schemaRef ds:uri="08496985-b4e7-44f6-a0fb-cf9483876b39"/>
    <ds:schemaRef ds:uri="e29b85ed-18c3-4aa1-9352-a89c372114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AAA_TemplateOOH16.9</Template>
  <TotalTime>2364</TotalTime>
  <Words>1361</Words>
  <Application>Microsoft Office PowerPoint</Application>
  <PresentationFormat>Widescreen</PresentationFormat>
  <Paragraphs>170</Paragraphs>
  <Slides>14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masis MT Pro</vt:lpstr>
      <vt:lpstr>Arial</vt:lpstr>
      <vt:lpstr>Avenir Book</vt:lpstr>
      <vt:lpstr>Calibri</vt:lpstr>
      <vt:lpstr>Courier New</vt:lpstr>
      <vt:lpstr>Franklin Gothic Book</vt:lpstr>
      <vt:lpstr>Franklin Gothic heavy</vt:lpstr>
      <vt:lpstr>Franklin Gothic Medium</vt:lpstr>
      <vt:lpstr>Tahoma</vt:lpstr>
      <vt:lpstr>Blank</vt:lpstr>
      <vt:lpstr>MediaLink Cobalt Base (Default)</vt:lpstr>
      <vt:lpstr>think-cell Slide</vt:lpstr>
      <vt:lpstr>Government Affairs – Webinar </vt:lpstr>
      <vt:lpstr>What You Need to Know – New Federal Tax Law </vt:lpstr>
      <vt:lpstr>Government Affairs</vt:lpstr>
      <vt:lpstr>Government Affairs </vt:lpstr>
      <vt:lpstr>Government Affairs </vt:lpstr>
      <vt:lpstr>Government Affairs </vt:lpstr>
      <vt:lpstr>Government Affairs </vt:lpstr>
      <vt:lpstr>Government Affairs </vt:lpstr>
      <vt:lpstr>Government Affairs </vt:lpstr>
      <vt:lpstr>Government Affairs </vt:lpstr>
      <vt:lpstr>Government Affairs </vt:lpstr>
      <vt:lpstr>Government Affairs </vt:lpstr>
      <vt:lpstr>Government Affairs </vt:lpstr>
      <vt:lpstr>Government Affairs </vt:lpstr>
    </vt:vector>
  </TitlesOfParts>
  <Company>Dent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OA-207-CW</dc:creator>
  <cp:lastModifiedBy>Mike Hershey</cp:lastModifiedBy>
  <cp:revision>12</cp:revision>
  <cp:lastPrinted>2022-10-10T18:18:35Z</cp:lastPrinted>
  <dcterms:created xsi:type="dcterms:W3CDTF">2019-08-06T14:39:15Z</dcterms:created>
  <dcterms:modified xsi:type="dcterms:W3CDTF">2026-02-24T19:0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D0B955D17822488E3D6493B9383791</vt:lpwstr>
  </property>
  <property fmtid="{D5CDD505-2E9C-101B-9397-08002B2CF9AE}" pid="3" name="MediaServiceImageTags">
    <vt:lpwstr/>
  </property>
</Properties>
</file>